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7728" r:id="rId2"/>
    <p:sldId id="9817" r:id="rId3"/>
    <p:sldId id="9830" r:id="rId4"/>
    <p:sldId id="9831" r:id="rId5"/>
    <p:sldId id="9816" r:id="rId6"/>
    <p:sldId id="9821" r:id="rId7"/>
    <p:sldId id="9825" r:id="rId8"/>
    <p:sldId id="9832" r:id="rId9"/>
    <p:sldId id="9823" r:id="rId10"/>
    <p:sldId id="9827" r:id="rId11"/>
    <p:sldId id="9829" r:id="rId12"/>
    <p:sldId id="9822" r:id="rId13"/>
  </p:sldIdLst>
  <p:sldSz cx="10693400" cy="7561263"/>
  <p:notesSz cx="7104063" cy="10234613"/>
  <p:embeddedFontLst>
    <p:embeddedFont>
      <p:font typeface="Avenir Next LT Pro" panose="020B0504020202020204" pitchFamily="34" charset="77"/>
      <p:regular r:id="rId16"/>
      <p:bold r:id="rId17"/>
      <p:italic r:id="rId18"/>
      <p:boldItalic r:id="rId19"/>
    </p:embeddedFont>
    <p:embeddedFont>
      <p:font typeface="Roboto" panose="02000000000000000000" pitchFamily="2" charset="0"/>
      <p:regular r:id="rId20"/>
      <p:bold r:id="rId21"/>
      <p:italic r:id="rId22"/>
      <p:boldItalic r:id="rId23"/>
    </p:embeddedFont>
    <p:embeddedFont>
      <p:font typeface="Roboto Mono" pitchFamily="49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54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rankin" initials="r" lastIdx="20" clrIdx="0"/>
  <p:cmAuthor id="1" name="Patricia Floro" initials="PF" lastIdx="18" clrIdx="1">
    <p:extLst>
      <p:ext uri="{19B8F6BF-5375-455C-9EA6-DF929625EA0E}">
        <p15:presenceInfo xmlns:p15="http://schemas.microsoft.com/office/powerpoint/2012/main" userId="2ab73c2250db9cd6" providerId="Windows Live"/>
      </p:ext>
    </p:extLst>
  </p:cmAuthor>
  <p:cmAuthor id="2" name="Kitty Bachmann" initials="KB" lastIdx="18" clrIdx="2">
    <p:extLst>
      <p:ext uri="{19B8F6BF-5375-455C-9EA6-DF929625EA0E}">
        <p15:presenceInfo xmlns:p15="http://schemas.microsoft.com/office/powerpoint/2012/main" userId="S::kib@capital-four.com::79705564-69af-411c-b260-25511e27e2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1242"/>
    <a:srgbClr val="786F62"/>
    <a:srgbClr val="AFAFAF"/>
    <a:srgbClr val="F0F3F6"/>
    <a:srgbClr val="636463"/>
    <a:srgbClr val="838483"/>
    <a:srgbClr val="96AAE4"/>
    <a:srgbClr val="0032A0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8BAFA5-4643-4A51-9C03-BEEE08B06F38}" v="15" dt="2024-11-20T15:18:59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5882" autoAdjust="0"/>
    <p:restoredTop sz="86404" autoAdjust="0"/>
  </p:normalViewPr>
  <p:slideViewPr>
    <p:cSldViewPr showGuides="1">
      <p:cViewPr>
        <p:scale>
          <a:sx n="109" d="100"/>
          <a:sy n="109" d="100"/>
        </p:scale>
        <p:origin x="128" y="496"/>
      </p:cViewPr>
      <p:guideLst>
        <p:guide orient="horz" pos="3554"/>
        <p:guide pos="33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</p:sldLst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howGuides="1">
      <p:cViewPr varScale="1">
        <p:scale>
          <a:sx n="112" d="100"/>
          <a:sy n="112" d="100"/>
        </p:scale>
        <p:origin x="4269" y="39"/>
      </p:cViewPr>
      <p:guideLst>
        <p:guide orient="horz" pos="3224"/>
        <p:guide pos="2239"/>
      </p:guideLst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8.xml"/><Relationship Id="rId3" Type="http://schemas.openxmlformats.org/officeDocument/2006/relationships/slide" Target="slides/slide3.xml"/><Relationship Id="rId7" Type="http://schemas.openxmlformats.org/officeDocument/2006/relationships/slide" Target="slides/slide7.xml"/><Relationship Id="rId12" Type="http://schemas.openxmlformats.org/officeDocument/2006/relationships/slide" Target="slides/slide12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6" Type="http://schemas.openxmlformats.org/officeDocument/2006/relationships/slide" Target="slides/slide6.xml"/><Relationship Id="rId11" Type="http://schemas.openxmlformats.org/officeDocument/2006/relationships/slide" Target="slides/slide11.xml"/><Relationship Id="rId5" Type="http://schemas.openxmlformats.org/officeDocument/2006/relationships/slide" Target="slides/slide5.xml"/><Relationship Id="rId10" Type="http://schemas.openxmlformats.org/officeDocument/2006/relationships/slide" Target="slides/slide10.xml"/><Relationship Id="rId4" Type="http://schemas.openxmlformats.org/officeDocument/2006/relationships/slide" Target="slides/slide4.xml"/><Relationship Id="rId9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Høgenhaug" userId="5f239db8-0158-4fa1-a859-fc1b00175be2" providerId="ADAL" clId="{328BAFA5-4643-4A51-9C03-BEEE08B06F38}"/>
    <pc:docChg chg="undo custSel addSld modSld sldOrd">
      <pc:chgData name="Pierre Høgenhaug" userId="5f239db8-0158-4fa1-a859-fc1b00175be2" providerId="ADAL" clId="{328BAFA5-4643-4A51-9C03-BEEE08B06F38}" dt="2024-11-20T15:23:36.598" v="892" actId="5793"/>
      <pc:docMkLst>
        <pc:docMk/>
      </pc:docMkLst>
      <pc:sldChg chg="modSp mod">
        <pc:chgData name="Pierre Høgenhaug" userId="5f239db8-0158-4fa1-a859-fc1b00175be2" providerId="ADAL" clId="{328BAFA5-4643-4A51-9C03-BEEE08B06F38}" dt="2024-11-20T09:24:52.043" v="97" actId="20577"/>
        <pc:sldMkLst>
          <pc:docMk/>
          <pc:sldMk cId="1296903930" sldId="7728"/>
        </pc:sldMkLst>
        <pc:spChg chg="mod">
          <ac:chgData name="Pierre Høgenhaug" userId="5f239db8-0158-4fa1-a859-fc1b00175be2" providerId="ADAL" clId="{328BAFA5-4643-4A51-9C03-BEEE08B06F38}" dt="2024-11-20T09:24:52.043" v="97" actId="20577"/>
          <ac:spMkLst>
            <pc:docMk/>
            <pc:sldMk cId="1296903930" sldId="7728"/>
            <ac:spMk id="5" creationId="{AC337A46-B614-4DB8-8714-683A1C1A1F4D}"/>
          </ac:spMkLst>
        </pc:spChg>
      </pc:sldChg>
      <pc:sldChg chg="modSp mod">
        <pc:chgData name="Pierre Høgenhaug" userId="5f239db8-0158-4fa1-a859-fc1b00175be2" providerId="ADAL" clId="{328BAFA5-4643-4A51-9C03-BEEE08B06F38}" dt="2024-11-20T09:30:52.100" v="284" actId="6549"/>
        <pc:sldMkLst>
          <pc:docMk/>
          <pc:sldMk cId="2829988918" sldId="9817"/>
        </pc:sldMkLst>
        <pc:spChg chg="mod">
          <ac:chgData name="Pierre Høgenhaug" userId="5f239db8-0158-4fa1-a859-fc1b00175be2" providerId="ADAL" clId="{328BAFA5-4643-4A51-9C03-BEEE08B06F38}" dt="2024-11-20T09:30:52.100" v="284" actId="6549"/>
          <ac:spMkLst>
            <pc:docMk/>
            <pc:sldMk cId="2829988918" sldId="9817"/>
            <ac:spMk id="3" creationId="{58876130-2276-9B27-A7DD-26EC958EB22B}"/>
          </ac:spMkLst>
        </pc:spChg>
      </pc:sldChg>
      <pc:sldChg chg="modSp mod">
        <pc:chgData name="Pierre Høgenhaug" userId="5f239db8-0158-4fa1-a859-fc1b00175be2" providerId="ADAL" clId="{328BAFA5-4643-4A51-9C03-BEEE08B06F38}" dt="2024-11-20T10:28:46.534" v="670" actId="20577"/>
        <pc:sldMkLst>
          <pc:docMk/>
          <pc:sldMk cId="1561223794" sldId="9820"/>
        </pc:sldMkLst>
        <pc:spChg chg="mod">
          <ac:chgData name="Pierre Høgenhaug" userId="5f239db8-0158-4fa1-a859-fc1b00175be2" providerId="ADAL" clId="{328BAFA5-4643-4A51-9C03-BEEE08B06F38}" dt="2024-11-20T10:28:46.534" v="670" actId="20577"/>
          <ac:spMkLst>
            <pc:docMk/>
            <pc:sldMk cId="1561223794" sldId="9820"/>
            <ac:spMk id="6" creationId="{79F7CBB1-0E9C-65D5-D2A7-986579C52A90}"/>
          </ac:spMkLst>
        </pc:spChg>
        <pc:picChg chg="mod">
          <ac:chgData name="Pierre Høgenhaug" userId="5f239db8-0158-4fa1-a859-fc1b00175be2" providerId="ADAL" clId="{328BAFA5-4643-4A51-9C03-BEEE08B06F38}" dt="2024-11-20T10:27:09.421" v="554" actId="1076"/>
          <ac:picMkLst>
            <pc:docMk/>
            <pc:sldMk cId="1561223794" sldId="9820"/>
            <ac:picMk id="9" creationId="{9805B0EA-EC17-C98E-370A-4DFA0C5F41E1}"/>
          </ac:picMkLst>
        </pc:picChg>
      </pc:sldChg>
      <pc:sldChg chg="modSp mod">
        <pc:chgData name="Pierre Høgenhaug" userId="5f239db8-0158-4fa1-a859-fc1b00175be2" providerId="ADAL" clId="{328BAFA5-4643-4A51-9C03-BEEE08B06F38}" dt="2024-11-20T15:23:36.598" v="892" actId="5793"/>
        <pc:sldMkLst>
          <pc:docMk/>
          <pc:sldMk cId="2830548496" sldId="9821"/>
        </pc:sldMkLst>
        <pc:spChg chg="mod">
          <ac:chgData name="Pierre Høgenhaug" userId="5f239db8-0158-4fa1-a859-fc1b00175be2" providerId="ADAL" clId="{328BAFA5-4643-4A51-9C03-BEEE08B06F38}" dt="2024-11-20T09:30:19.407" v="259" actId="20577"/>
          <ac:spMkLst>
            <pc:docMk/>
            <pc:sldMk cId="2830548496" sldId="9821"/>
            <ac:spMk id="2" creationId="{188F84AA-CE8F-C7CF-8D46-BB8BB066CCCA}"/>
          </ac:spMkLst>
        </pc:spChg>
        <pc:spChg chg="mod">
          <ac:chgData name="Pierre Høgenhaug" userId="5f239db8-0158-4fa1-a859-fc1b00175be2" providerId="ADAL" clId="{328BAFA5-4643-4A51-9C03-BEEE08B06F38}" dt="2024-11-20T15:23:36.598" v="892" actId="5793"/>
          <ac:spMkLst>
            <pc:docMk/>
            <pc:sldMk cId="2830548496" sldId="9821"/>
            <ac:spMk id="19" creationId="{8F2EC1D3-E8FB-69E9-EF89-D841C355B54F}"/>
          </ac:spMkLst>
        </pc:spChg>
      </pc:sldChg>
      <pc:sldChg chg="modSp mod">
        <pc:chgData name="Pierre Høgenhaug" userId="5f239db8-0158-4fa1-a859-fc1b00175be2" providerId="ADAL" clId="{328BAFA5-4643-4A51-9C03-BEEE08B06F38}" dt="2024-11-20T15:21:29.229" v="886" actId="20577"/>
        <pc:sldMkLst>
          <pc:docMk/>
          <pc:sldMk cId="2573527940" sldId="9822"/>
        </pc:sldMkLst>
        <pc:spChg chg="mod">
          <ac:chgData name="Pierre Høgenhaug" userId="5f239db8-0158-4fa1-a859-fc1b00175be2" providerId="ADAL" clId="{328BAFA5-4643-4A51-9C03-BEEE08B06F38}" dt="2024-11-20T15:20:06.324" v="760" actId="20577"/>
          <ac:spMkLst>
            <pc:docMk/>
            <pc:sldMk cId="2573527940" sldId="9822"/>
            <ac:spMk id="2" creationId="{63FA2A1F-ECBA-994F-2266-CCA29E8E477E}"/>
          </ac:spMkLst>
        </pc:spChg>
        <pc:spChg chg="mod">
          <ac:chgData name="Pierre Høgenhaug" userId="5f239db8-0158-4fa1-a859-fc1b00175be2" providerId="ADAL" clId="{328BAFA5-4643-4A51-9C03-BEEE08B06F38}" dt="2024-11-20T15:21:29.229" v="886" actId="20577"/>
          <ac:spMkLst>
            <pc:docMk/>
            <pc:sldMk cId="2573527940" sldId="9822"/>
            <ac:spMk id="19" creationId="{AACFD40D-444F-4894-2E8D-129F1F6C2B65}"/>
          </ac:spMkLst>
        </pc:spChg>
      </pc:sldChg>
      <pc:sldChg chg="modSp mod">
        <pc:chgData name="Pierre Høgenhaug" userId="5f239db8-0158-4fa1-a859-fc1b00175be2" providerId="ADAL" clId="{328BAFA5-4643-4A51-9C03-BEEE08B06F38}" dt="2024-11-20T09:29:34.727" v="218" actId="20577"/>
        <pc:sldMkLst>
          <pc:docMk/>
          <pc:sldMk cId="1640273481" sldId="9823"/>
        </pc:sldMkLst>
        <pc:spChg chg="mod">
          <ac:chgData name="Pierre Høgenhaug" userId="5f239db8-0158-4fa1-a859-fc1b00175be2" providerId="ADAL" clId="{328BAFA5-4643-4A51-9C03-BEEE08B06F38}" dt="2024-11-20T09:29:34.727" v="218" actId="20577"/>
          <ac:spMkLst>
            <pc:docMk/>
            <pc:sldMk cId="1640273481" sldId="9823"/>
            <ac:spMk id="2" creationId="{5A272E6E-CB83-9B89-0D65-BAFF4B9FAFAD}"/>
          </ac:spMkLst>
        </pc:spChg>
      </pc:sldChg>
      <pc:sldChg chg="modSp mod">
        <pc:chgData name="Pierre Høgenhaug" userId="5f239db8-0158-4fa1-a859-fc1b00175be2" providerId="ADAL" clId="{328BAFA5-4643-4A51-9C03-BEEE08B06F38}" dt="2024-11-20T15:23:23.568" v="887" actId="21"/>
        <pc:sldMkLst>
          <pc:docMk/>
          <pc:sldMk cId="229663654" sldId="9825"/>
        </pc:sldMkLst>
        <pc:spChg chg="mod">
          <ac:chgData name="Pierre Høgenhaug" userId="5f239db8-0158-4fa1-a859-fc1b00175be2" providerId="ADAL" clId="{328BAFA5-4643-4A51-9C03-BEEE08B06F38}" dt="2024-11-20T09:29:13.084" v="173" actId="20577"/>
          <ac:spMkLst>
            <pc:docMk/>
            <pc:sldMk cId="229663654" sldId="9825"/>
            <ac:spMk id="2" creationId="{473ED1FB-AB2C-1FF8-832A-CAB472DB423C}"/>
          </ac:spMkLst>
        </pc:spChg>
        <pc:spChg chg="mod">
          <ac:chgData name="Pierre Høgenhaug" userId="5f239db8-0158-4fa1-a859-fc1b00175be2" providerId="ADAL" clId="{328BAFA5-4643-4A51-9C03-BEEE08B06F38}" dt="2024-11-20T15:23:23.568" v="887" actId="21"/>
          <ac:spMkLst>
            <pc:docMk/>
            <pc:sldMk cId="229663654" sldId="9825"/>
            <ac:spMk id="19" creationId="{366E3853-A258-E70B-6ECF-ECADF70A9708}"/>
          </ac:spMkLst>
        </pc:spChg>
      </pc:sldChg>
      <pc:sldChg chg="addSp delSp modSp new mod ord">
        <pc:chgData name="Pierre Høgenhaug" userId="5f239db8-0158-4fa1-a859-fc1b00175be2" providerId="ADAL" clId="{328BAFA5-4643-4A51-9C03-BEEE08B06F38}" dt="2024-11-20T09:24:34.074" v="92" actId="1076"/>
        <pc:sldMkLst>
          <pc:docMk/>
          <pc:sldMk cId="3966222892" sldId="9826"/>
        </pc:sldMkLst>
        <pc:spChg chg="del">
          <ac:chgData name="Pierre Høgenhaug" userId="5f239db8-0158-4fa1-a859-fc1b00175be2" providerId="ADAL" clId="{328BAFA5-4643-4A51-9C03-BEEE08B06F38}" dt="2024-11-20T09:21:56.828" v="57" actId="478"/>
          <ac:spMkLst>
            <pc:docMk/>
            <pc:sldMk cId="3966222892" sldId="9826"/>
            <ac:spMk id="2" creationId="{5ADCB886-37E5-BE0D-C4A8-D6C542C835E7}"/>
          </ac:spMkLst>
        </pc:spChg>
        <pc:spChg chg="mod">
          <ac:chgData name="Pierre Høgenhaug" userId="5f239db8-0158-4fa1-a859-fc1b00175be2" providerId="ADAL" clId="{328BAFA5-4643-4A51-9C03-BEEE08B06F38}" dt="2024-11-20T09:20:51.861" v="37" actId="20577"/>
          <ac:spMkLst>
            <pc:docMk/>
            <pc:sldMk cId="3966222892" sldId="9826"/>
            <ac:spMk id="4" creationId="{1AB677AB-C73A-EC3B-2F8F-41E4A64F3A26}"/>
          </ac:spMkLst>
        </pc:spChg>
        <pc:spChg chg="del">
          <ac:chgData name="Pierre Høgenhaug" userId="5f239db8-0158-4fa1-a859-fc1b00175be2" providerId="ADAL" clId="{328BAFA5-4643-4A51-9C03-BEEE08B06F38}" dt="2024-11-20T09:21:35.056" v="49" actId="478"/>
          <ac:spMkLst>
            <pc:docMk/>
            <pc:sldMk cId="3966222892" sldId="9826"/>
            <ac:spMk id="6" creationId="{6D257460-AB09-04D2-8CF4-6F429E5C203C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8" creationId="{DF5B5094-322C-F237-83FE-B46335FE6D4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9" creationId="{AFDA3532-04A2-3531-E5E5-91F0726FE03E}"/>
          </ac:spMkLst>
        </pc:spChg>
        <pc:spChg chg="add mod">
          <ac:chgData name="Pierre Høgenhaug" userId="5f239db8-0158-4fa1-a859-fc1b00175be2" providerId="ADAL" clId="{328BAFA5-4643-4A51-9C03-BEEE08B06F38}" dt="2024-11-20T09:21:30.309" v="47" actId="1036"/>
          <ac:spMkLst>
            <pc:docMk/>
            <pc:sldMk cId="3966222892" sldId="9826"/>
            <ac:spMk id="10" creationId="{9EA0A5E9-F456-8276-2C5F-29D3187F8D92}"/>
          </ac:spMkLst>
        </pc:spChg>
        <pc:spChg chg="add mod">
          <ac:chgData name="Pierre Høgenhaug" userId="5f239db8-0158-4fa1-a859-fc1b00175be2" providerId="ADAL" clId="{328BAFA5-4643-4A51-9C03-BEEE08B06F38}" dt="2024-11-20T09:23:22.890" v="84" actId="20577"/>
          <ac:spMkLst>
            <pc:docMk/>
            <pc:sldMk cId="3966222892" sldId="9826"/>
            <ac:spMk id="11" creationId="{05C9A5C7-7CD0-BCBD-F7AB-E4C3E53764F0}"/>
          </ac:spMkLst>
        </pc:spChg>
        <pc:spChg chg="add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2" creationId="{C7BE14F1-0F1A-B664-ED79-64E596815B1B}"/>
          </ac:spMkLst>
        </pc:spChg>
        <pc:spChg chg="add del mod">
          <ac:chgData name="Pierre Høgenhaug" userId="5f239db8-0158-4fa1-a859-fc1b00175be2" providerId="ADAL" clId="{328BAFA5-4643-4A51-9C03-BEEE08B06F38}" dt="2024-11-20T09:23:10.007" v="81" actId="1036"/>
          <ac:spMkLst>
            <pc:docMk/>
            <pc:sldMk cId="3966222892" sldId="9826"/>
            <ac:spMk id="13" creationId="{E3E7395F-467E-AC9E-A4E5-17EE7C89696F}"/>
          </ac:spMkLst>
        </pc:spChg>
        <pc:spChg chg="add mod">
          <ac:chgData name="Pierre Høgenhaug" userId="5f239db8-0158-4fa1-a859-fc1b00175be2" providerId="ADAL" clId="{328BAFA5-4643-4A51-9C03-BEEE08B06F38}" dt="2024-11-20T09:24:34.074" v="92" actId="1076"/>
          <ac:spMkLst>
            <pc:docMk/>
            <pc:sldMk cId="3966222892" sldId="9826"/>
            <ac:spMk id="15" creationId="{C5DDA794-89F7-7722-6F3B-482B026EAA5C}"/>
          </ac:spMkLst>
        </pc:spChg>
        <pc:picChg chg="add mod">
          <ac:chgData name="Pierre Høgenhaug" userId="5f239db8-0158-4fa1-a859-fc1b00175be2" providerId="ADAL" clId="{328BAFA5-4643-4A51-9C03-BEEE08B06F38}" dt="2024-11-20T09:24:02.895" v="88" actId="1076"/>
          <ac:picMkLst>
            <pc:docMk/>
            <pc:sldMk cId="3966222892" sldId="9826"/>
            <ac:picMk id="7" creationId="{D7B5BA27-D622-5311-DC78-761578DC0DF5}"/>
          </ac:picMkLst>
        </pc:picChg>
      </pc:sldChg>
      <pc:sldChg chg="delSp modSp add mod">
        <pc:chgData name="Pierre Høgenhaug" userId="5f239db8-0158-4fa1-a859-fc1b00175be2" providerId="ADAL" clId="{328BAFA5-4643-4A51-9C03-BEEE08B06F38}" dt="2024-11-20T09:33:26.028" v="520"/>
        <pc:sldMkLst>
          <pc:docMk/>
          <pc:sldMk cId="1962498448" sldId="9827"/>
        </pc:sldMkLst>
        <pc:spChg chg="mod">
          <ac:chgData name="Pierre Høgenhaug" userId="5f239db8-0158-4fa1-a859-fc1b00175be2" providerId="ADAL" clId="{328BAFA5-4643-4A51-9C03-BEEE08B06F38}" dt="2024-11-20T09:31:04.553" v="298" actId="20577"/>
          <ac:spMkLst>
            <pc:docMk/>
            <pc:sldMk cId="1962498448" sldId="9827"/>
            <ac:spMk id="2" creationId="{5A272E6E-CB83-9B89-0D65-BAFF4B9FAFAD}"/>
          </ac:spMkLst>
        </pc:spChg>
        <pc:spChg chg="del">
          <ac:chgData name="Pierre Høgenhaug" userId="5f239db8-0158-4fa1-a859-fc1b00175be2" providerId="ADAL" clId="{328BAFA5-4643-4A51-9C03-BEEE08B06F38}" dt="2024-11-20T09:31:11.166" v="301" actId="478"/>
          <ac:spMkLst>
            <pc:docMk/>
            <pc:sldMk cId="1962498448" sldId="9827"/>
            <ac:spMk id="3" creationId="{2BE692DF-3E13-DC4D-2196-3FEDC2E62245}"/>
          </ac:spMkLst>
        </pc:spChg>
        <pc:spChg chg="mod">
          <ac:chgData name="Pierre Høgenhaug" userId="5f239db8-0158-4fa1-a859-fc1b00175be2" providerId="ADAL" clId="{328BAFA5-4643-4A51-9C03-BEEE08B06F38}" dt="2024-11-20T09:33:26.028" v="520"/>
          <ac:spMkLst>
            <pc:docMk/>
            <pc:sldMk cId="1962498448" sldId="9827"/>
            <ac:spMk id="19" creationId="{EA98FA14-2AD8-B40C-848F-681D68C43659}"/>
          </ac:spMkLst>
        </pc:spChg>
        <pc:picChg chg="del">
          <ac:chgData name="Pierre Høgenhaug" userId="5f239db8-0158-4fa1-a859-fc1b00175be2" providerId="ADAL" clId="{328BAFA5-4643-4A51-9C03-BEEE08B06F38}" dt="2024-11-20T09:31:08.795" v="299" actId="478"/>
          <ac:picMkLst>
            <pc:docMk/>
            <pc:sldMk cId="1962498448" sldId="9827"/>
            <ac:picMk id="5" creationId="{95CFE490-7D39-8F1A-C0F0-ED448094755A}"/>
          </ac:picMkLst>
        </pc:picChg>
        <pc:picChg chg="del">
          <ac:chgData name="Pierre Høgenhaug" userId="5f239db8-0158-4fa1-a859-fc1b00175be2" providerId="ADAL" clId="{328BAFA5-4643-4A51-9C03-BEEE08B06F38}" dt="2024-11-20T09:31:09.031" v="300" actId="478"/>
          <ac:picMkLst>
            <pc:docMk/>
            <pc:sldMk cId="1962498448" sldId="9827"/>
            <ac:picMk id="7" creationId="{FB1F9600-928F-9062-0787-642DB498FE53}"/>
          </ac:picMkLst>
        </pc:picChg>
      </pc:sldChg>
      <pc:sldChg chg="addSp delSp modSp new mod">
        <pc:chgData name="Pierre Høgenhaug" userId="5f239db8-0158-4fa1-a859-fc1b00175be2" providerId="ADAL" clId="{328BAFA5-4643-4A51-9C03-BEEE08B06F38}" dt="2024-11-20T10:32:35.949" v="673"/>
        <pc:sldMkLst>
          <pc:docMk/>
          <pc:sldMk cId="1753498188" sldId="9828"/>
        </pc:sldMkLst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2" creationId="{A1684C62-DD42-96B4-D44E-0E6EF4FB9FAD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3" creationId="{798DA084-BD8B-AD5E-E2DF-F40DD818E5D7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4" creationId="{2C3BE81D-DAD1-55CA-07AD-01245A68A51E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5" creationId="{CAE12DA1-CF22-1BA1-7833-9CD7C7B92016}"/>
          </ac:spMkLst>
        </pc:spChg>
        <pc:spChg chg="del">
          <ac:chgData name="Pierre Høgenhaug" userId="5f239db8-0158-4fa1-a859-fc1b00175be2" providerId="ADAL" clId="{328BAFA5-4643-4A51-9C03-BEEE08B06F38}" dt="2024-11-20T10:32:35.501" v="672" actId="478"/>
          <ac:spMkLst>
            <pc:docMk/>
            <pc:sldMk cId="1753498188" sldId="9828"/>
            <ac:spMk id="6" creationId="{EF0445AC-8E08-88FC-BD49-35AF48F3A97E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7" creationId="{E2972773-C5D8-CB6B-7C42-7D7F7C9F55B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8" creationId="{E06BDC6C-27BD-C205-9004-FDB3A5A82BC0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9" creationId="{E170421C-E967-B81E-F078-B2E512700B6A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0" creationId="{CE368DDD-597F-4076-5E7B-A63453421582}"/>
          </ac:spMkLst>
        </pc:spChg>
        <pc:spChg chg="add mod">
          <ac:chgData name="Pierre Høgenhaug" userId="5f239db8-0158-4fa1-a859-fc1b00175be2" providerId="ADAL" clId="{328BAFA5-4643-4A51-9C03-BEEE08B06F38}" dt="2024-11-20T10:32:35.949" v="673"/>
          <ac:spMkLst>
            <pc:docMk/>
            <pc:sldMk cId="1753498188" sldId="9828"/>
            <ac:spMk id="11" creationId="{43BE52E8-C01C-1496-A4F1-D48A04FFFEA9}"/>
          </ac:spMkLst>
        </pc:spChg>
        <pc:picChg chg="add mod">
          <ac:chgData name="Pierre Høgenhaug" userId="5f239db8-0158-4fa1-a859-fc1b00175be2" providerId="ADAL" clId="{328BAFA5-4643-4A51-9C03-BEEE08B06F38}" dt="2024-11-20T10:32:35.949" v="673"/>
          <ac:picMkLst>
            <pc:docMk/>
            <pc:sldMk cId="1753498188" sldId="9828"/>
            <ac:picMk id="12" creationId="{976E078B-594E-3CD0-4A49-82FC52EBF381}"/>
          </ac:picMkLst>
        </pc:picChg>
      </pc:sldChg>
      <pc:sldChg chg="add ord">
        <pc:chgData name="Pierre Høgenhaug" userId="5f239db8-0158-4fa1-a859-fc1b00175be2" providerId="ADAL" clId="{328BAFA5-4643-4A51-9C03-BEEE08B06F38}" dt="2024-11-20T15:19:00.799" v="676"/>
        <pc:sldMkLst>
          <pc:docMk/>
          <pc:sldMk cId="1610390231" sldId="98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738" y="4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06AB6CCA-D06D-4BA5-9639-94B1582DB0D0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738" y="9721896"/>
            <a:ext cx="3078651" cy="51107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D4CD3AD6-A5FE-468E-8095-C8CCD92A5E40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91806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/>
          <a:lstStyle>
            <a:lvl1pPr algn="r">
              <a:defRPr sz="1200"/>
            </a:lvl1pPr>
          </a:lstStyle>
          <a:p>
            <a:fld id="{CFB4E7EA-0364-46D8-B4EC-CAC35BF3F46E}" type="datetime1">
              <a:rPr lang="en-GB" smtClean="0"/>
              <a:t>20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8200" y="769938"/>
            <a:ext cx="5427663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6" tIns="47808" rIns="95616" bIns="4780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616" tIns="47808" rIns="95616" bIns="478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9"/>
            <a:ext cx="3078428" cy="511731"/>
          </a:xfrm>
          <a:prstGeom prst="rect">
            <a:avLst/>
          </a:prstGeom>
        </p:spPr>
        <p:txBody>
          <a:bodyPr vert="horz" lIns="95616" tIns="47808" rIns="95616" bIns="47808" rtlCol="0" anchor="b"/>
          <a:lstStyle>
            <a:lvl1pPr algn="r">
              <a:defRPr sz="1200"/>
            </a:lvl1pPr>
          </a:lstStyle>
          <a:p>
            <a:fld id="{122F8133-2F88-4991-8402-4E14DD35EE3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28298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855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712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567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424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279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136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9919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8480" algn="l" defTabSz="99712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9206A4-490B-DB8A-78CF-3D498B9AE6A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BB987DE-1AEF-4BE6-B719-FB09DF7D95B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819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FBCB1D-C2E5-79A6-AE97-E30D5164435F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25CCB9-332B-424D-A22A-6B25956D5CA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993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1393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46DE7-F2C3-9D11-115C-A3B61D6C70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CD2877-95AD-38E6-41E0-6DB48B9469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5CC0F7-461E-3989-930C-077E8EFCD1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FA161B4-26E1-938D-929D-507FDF54623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B576C-6E20-B552-B5C2-87BBD62BCD8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ADF6A-3162-0AB2-649E-93165D0353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8DB267-0257-1B7D-197E-4422DEC76A0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45846D-96CC-47F1-935A-75357E9AA60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ED471-46F3-92B8-686C-448B6007148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A3BDACB-52F9-4FB3-A8A6-E62AE9AFBB42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3440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645915-CEE5-9176-137E-857B7AB6B4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F9BE4-70A6-5F17-4782-5D2A34789D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3BB741-98D3-17D8-49AF-6768FA6519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C728D02-AFB2-94CA-BF6E-562616F59E4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959CA-5C09-8901-8BEA-4547963B25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A597A-111A-A2B2-2570-40412BD058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6BC07B-BE93-A2A6-DC85-DD1D7FEFB420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113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53580D-36BA-89EA-86E3-96377BBED1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32259E-1A3A-D123-1BD1-C857CB419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A3D9C87-7F03-E0F3-EAE9-B2D86D6C0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5084B69-5522-DF24-47E1-5B81589F295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51289-6F7F-5C42-9B1E-DAF6228ACFC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4FE94-26D0-646C-7F90-5EAF176081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5D25FA-158A-B029-E767-82A2F06B7D3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3278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6C0DD9-0EED-3894-30F1-F4EA1C0CF9CA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437AE91-64E0-4E81-8C1F-D734F06C6A2F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888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F2896-E2F5-A7BA-DA21-8A145E4205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5A7E54-B487-1282-D00A-66A627B67D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028FE5-0A05-8515-F3D3-F7348457E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4795F3E-6553-E2FE-FC78-87116DFBAC6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F753D0-96F4-02F6-31A2-D2F1321651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AA8E6-FFE8-59F8-96B8-9072E93FE6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E7C52B-BEDC-F8EA-B1D3-43AFD49C88F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2E74FD8-F697-4FF5-8278-B34C32195BAC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486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3A554-1B16-B1BA-8F9D-63DB96FCB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232002-BF36-29F7-E635-7384DA58F7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F37AC9-67A3-4411-EFE6-243FC6A3B6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D4690C0-B295-BC4F-88F8-BA5500BE06D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CEABD-D41F-48CA-65F4-88546B195A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A67F5C-F378-B3F8-EC88-878A0F5FBA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973F8-08AE-0D12-E953-BED926CE718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E7DF219-5064-40CC-9341-0ED2C0ED3801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817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C372EC-D131-0831-E984-AE0394AF8A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B9CADF-A966-0315-FC94-8299FFB71D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DDC19C-51D9-BC72-8FDD-36F47B16847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7CAEB16-C878-88A4-52DF-ADCD587987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36C80D-8E16-DA3B-07DC-0F6C174D27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0A305-D6A0-9F64-59A5-D9E61632A6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4DB8A8-5507-F31C-C9B0-9602552DC53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1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484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E54FFB-3AF9-7850-AEA4-B76649C06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1BB9FD-C8E0-13FC-29E9-68245DE41D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CAA2E-72CE-D0F3-BDC9-D882638753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EAD6C2F2-C9DF-9E67-018F-98CD0D846B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83D31-4032-090C-8A06-4318F10BBF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C9C8-280D-DA99-E106-6FCD280533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F8133-2F88-4991-8402-4E14DD35EE3C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D6544-1BAC-E5B2-3D56-5759D5AF0CB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799DFEE-497F-49E7-A91C-31BC05D67BED}" type="datetime1">
              <a:rPr lang="en-GB" smtClean="0"/>
              <a:t>20/11/20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497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6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144" y="6205060"/>
            <a:ext cx="8249439" cy="704050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 algn="l">
              <a:lnSpc>
                <a:spcPts val="26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6875" y="6988312"/>
            <a:ext cx="8249439" cy="277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60CEC3-EF2F-4509-ACDE-FCBED8A22C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4144" y="5888252"/>
            <a:ext cx="8262170" cy="31680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US" dirty="0"/>
              <a:t>Click to Edit Author</a:t>
            </a:r>
            <a:endParaRPr lang="da-DK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3B5682B-7692-4FBB-A6D5-BF9299E7BE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8330" y="6595721"/>
            <a:ext cx="1363067" cy="549565"/>
          </a:xfrm>
          <a:prstGeom prst="rect">
            <a:avLst/>
          </a:prstGeom>
        </p:spPr>
      </p:pic>
      <p:grpSp>
        <p:nvGrpSpPr>
          <p:cNvPr id="1644" name="Group 1643">
            <a:extLst>
              <a:ext uri="{FF2B5EF4-FFF2-40B4-BE49-F238E27FC236}">
                <a16:creationId xmlns:a16="http://schemas.microsoft.com/office/drawing/2014/main" id="{4394367B-3A49-4432-BFE3-ACA4283B6AF9}"/>
              </a:ext>
            </a:extLst>
          </p:cNvPr>
          <p:cNvGrpSpPr/>
          <p:nvPr userDrawn="1"/>
        </p:nvGrpSpPr>
        <p:grpSpPr>
          <a:xfrm>
            <a:off x="445836" y="297463"/>
            <a:ext cx="9913951" cy="5384016"/>
            <a:chOff x="445836" y="309147"/>
            <a:chExt cx="9913951" cy="538401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11BD18B-5C01-48F8-A3C1-D50C5A8D613A}"/>
                </a:ext>
              </a:extLst>
            </p:cNvPr>
            <p:cNvSpPr/>
            <p:nvPr/>
          </p:nvSpPr>
          <p:spPr>
            <a:xfrm>
              <a:off x="1580339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181F54C-9F9E-42E9-9299-B8356F5DB88B}"/>
                </a:ext>
              </a:extLst>
            </p:cNvPr>
            <p:cNvSpPr/>
            <p:nvPr/>
          </p:nvSpPr>
          <p:spPr>
            <a:xfrm>
              <a:off x="1807574" y="528306"/>
              <a:ext cx="2784" cy="165692"/>
            </a:xfrm>
            <a:custGeom>
              <a:avLst/>
              <a:gdLst>
                <a:gd name="connsiteX0" fmla="*/ 2785 w 2784"/>
                <a:gd name="connsiteY0" fmla="*/ 0 h 165692"/>
                <a:gd name="connsiteX1" fmla="*/ 0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2785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4CC7327-B988-4EE2-8C0A-922B0C9D84F7}"/>
                </a:ext>
              </a:extLst>
            </p:cNvPr>
            <p:cNvSpPr/>
            <p:nvPr/>
          </p:nvSpPr>
          <p:spPr>
            <a:xfrm>
              <a:off x="2034809" y="528306"/>
              <a:ext cx="2784" cy="165692"/>
            </a:xfrm>
            <a:custGeom>
              <a:avLst/>
              <a:gdLst>
                <a:gd name="connsiteX0" fmla="*/ 0 w 2784"/>
                <a:gd name="connsiteY0" fmla="*/ 0 h 165692"/>
                <a:gd name="connsiteX1" fmla="*/ 2785 w 2784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5692">
                  <a:moveTo>
                    <a:pt x="0" y="0"/>
                  </a:moveTo>
                  <a:lnTo>
                    <a:pt x="2785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F472DC0C-9FE6-44C2-B5DA-CED8D06D3599}"/>
                </a:ext>
              </a:extLst>
            </p:cNvPr>
            <p:cNvSpPr/>
            <p:nvPr/>
          </p:nvSpPr>
          <p:spPr>
            <a:xfrm>
              <a:off x="2264828" y="528306"/>
              <a:ext cx="5291" cy="165692"/>
            </a:xfrm>
            <a:custGeom>
              <a:avLst/>
              <a:gdLst>
                <a:gd name="connsiteX0" fmla="*/ 5291 w 5291"/>
                <a:gd name="connsiteY0" fmla="*/ 0 h 165692"/>
                <a:gd name="connsiteX1" fmla="*/ 0 w 5291"/>
                <a:gd name="connsiteY1" fmla="*/ 165692 h 16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5692">
                  <a:moveTo>
                    <a:pt x="5291" y="0"/>
                  </a:moveTo>
                  <a:lnTo>
                    <a:pt x="0" y="1656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0B77A429-BAE2-4F69-9F5A-780AE3A82073}"/>
                </a:ext>
              </a:extLst>
            </p:cNvPr>
            <p:cNvSpPr/>
            <p:nvPr/>
          </p:nvSpPr>
          <p:spPr>
            <a:xfrm>
              <a:off x="7734335" y="323368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84FFC3D-BDE9-433B-8D1C-2D507ECE208B}"/>
                </a:ext>
              </a:extLst>
            </p:cNvPr>
            <p:cNvSpPr/>
            <p:nvPr/>
          </p:nvSpPr>
          <p:spPr>
            <a:xfrm>
              <a:off x="2721804" y="758325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940F8B57-29F9-4346-A69F-5A477DA44A03}"/>
                </a:ext>
              </a:extLst>
            </p:cNvPr>
            <p:cNvSpPr/>
            <p:nvPr/>
          </p:nvSpPr>
          <p:spPr>
            <a:xfrm>
              <a:off x="2951823" y="758325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D8E63153-576B-46A3-93EB-1EA9FDE68283}"/>
                </a:ext>
              </a:extLst>
            </p:cNvPr>
            <p:cNvSpPr/>
            <p:nvPr/>
          </p:nvSpPr>
          <p:spPr>
            <a:xfrm>
              <a:off x="1583124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F4A58B5E-CA43-4E06-B165-2609ECFB7F97}"/>
                </a:ext>
              </a:extLst>
            </p:cNvPr>
            <p:cNvSpPr/>
            <p:nvPr/>
          </p:nvSpPr>
          <p:spPr>
            <a:xfrm>
              <a:off x="1807574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67934EDB-6592-4E10-BC12-6D4C964CACC7}"/>
                </a:ext>
              </a:extLst>
            </p:cNvPr>
            <p:cNvSpPr/>
            <p:nvPr/>
          </p:nvSpPr>
          <p:spPr>
            <a:xfrm>
              <a:off x="203759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D2A7429-59AF-4EAE-8277-A395644B575E}"/>
                </a:ext>
              </a:extLst>
            </p:cNvPr>
            <p:cNvSpPr/>
            <p:nvPr/>
          </p:nvSpPr>
          <p:spPr>
            <a:xfrm>
              <a:off x="5229462" y="548486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69C66D56-7D37-4842-ABDB-167623D0FDAD}"/>
                </a:ext>
              </a:extLst>
            </p:cNvPr>
            <p:cNvSpPr/>
            <p:nvPr/>
          </p:nvSpPr>
          <p:spPr>
            <a:xfrm>
              <a:off x="2262043" y="982776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C74128-0130-486B-82A6-138B24AF3667}"/>
                </a:ext>
              </a:extLst>
            </p:cNvPr>
            <p:cNvSpPr/>
            <p:nvPr/>
          </p:nvSpPr>
          <p:spPr>
            <a:xfrm>
              <a:off x="4774992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3F2C958D-DE9D-450C-B916-36A0598D267B}"/>
                </a:ext>
              </a:extLst>
            </p:cNvPr>
            <p:cNvSpPr/>
            <p:nvPr/>
          </p:nvSpPr>
          <p:spPr>
            <a:xfrm>
              <a:off x="4545251" y="548486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ECAD6086-E01E-4BCE-B656-13E6A61192D2}"/>
                </a:ext>
              </a:extLst>
            </p:cNvPr>
            <p:cNvSpPr/>
            <p:nvPr/>
          </p:nvSpPr>
          <p:spPr>
            <a:xfrm>
              <a:off x="4318017" y="5484864"/>
              <a:ext cx="18657" cy="160401"/>
            </a:xfrm>
            <a:custGeom>
              <a:avLst/>
              <a:gdLst>
                <a:gd name="connsiteX0" fmla="*/ 18658 w 18657"/>
                <a:gd name="connsiteY0" fmla="*/ 0 h 160401"/>
                <a:gd name="connsiteX1" fmla="*/ 0 w 1865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160401">
                  <a:moveTo>
                    <a:pt x="18658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104B5D0-1B99-4C8B-9217-38AE0808D087}"/>
                </a:ext>
              </a:extLst>
            </p:cNvPr>
            <p:cNvSpPr/>
            <p:nvPr/>
          </p:nvSpPr>
          <p:spPr>
            <a:xfrm>
              <a:off x="2492063" y="982776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32C0500E-ABEE-46FA-94A3-3377742DC335}"/>
                </a:ext>
              </a:extLst>
            </p:cNvPr>
            <p:cNvSpPr/>
            <p:nvPr/>
          </p:nvSpPr>
          <p:spPr>
            <a:xfrm>
              <a:off x="2721804" y="982776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BFE3FCEA-6D8E-40AB-AD5C-572AEB6F9699}"/>
                </a:ext>
              </a:extLst>
            </p:cNvPr>
            <p:cNvSpPr/>
            <p:nvPr/>
          </p:nvSpPr>
          <p:spPr>
            <a:xfrm>
              <a:off x="2951823" y="982776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B670DC97-B719-4421-9918-846316D5C7F2}"/>
                </a:ext>
              </a:extLst>
            </p:cNvPr>
            <p:cNvSpPr/>
            <p:nvPr/>
          </p:nvSpPr>
          <p:spPr>
            <a:xfrm>
              <a:off x="1583124" y="1207504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F039395D-A50B-4D9C-A936-4AE3E35D3DE7}"/>
                </a:ext>
              </a:extLst>
            </p:cNvPr>
            <p:cNvSpPr/>
            <p:nvPr/>
          </p:nvSpPr>
          <p:spPr>
            <a:xfrm>
              <a:off x="180757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E7D5C308-7CB0-4653-A06A-25C175111E26}"/>
                </a:ext>
              </a:extLst>
            </p:cNvPr>
            <p:cNvSpPr/>
            <p:nvPr/>
          </p:nvSpPr>
          <p:spPr>
            <a:xfrm>
              <a:off x="2037593" y="1207504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EC678DE8-55AD-480C-987E-C3214CA99C89}"/>
                </a:ext>
              </a:extLst>
            </p:cNvPr>
            <p:cNvSpPr/>
            <p:nvPr/>
          </p:nvSpPr>
          <p:spPr>
            <a:xfrm>
              <a:off x="5002227" y="5260136"/>
              <a:ext cx="24227" cy="160401"/>
            </a:xfrm>
            <a:custGeom>
              <a:avLst/>
              <a:gdLst>
                <a:gd name="connsiteX0" fmla="*/ 24227 w 24227"/>
                <a:gd name="connsiteY0" fmla="*/ 0 h 160401"/>
                <a:gd name="connsiteX1" fmla="*/ 0 w 24227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60401">
                  <a:moveTo>
                    <a:pt x="24227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B3CBE24E-0A66-4859-A3B4-BC8F981B9247}"/>
                </a:ext>
              </a:extLst>
            </p:cNvPr>
            <p:cNvSpPr/>
            <p:nvPr/>
          </p:nvSpPr>
          <p:spPr>
            <a:xfrm>
              <a:off x="4774992" y="5260136"/>
              <a:ext cx="16151" cy="160401"/>
            </a:xfrm>
            <a:custGeom>
              <a:avLst/>
              <a:gdLst>
                <a:gd name="connsiteX0" fmla="*/ 16151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B095D74F-0AC8-4264-BE6B-B5B5FF3BC21C}"/>
                </a:ext>
              </a:extLst>
            </p:cNvPr>
            <p:cNvSpPr/>
            <p:nvPr/>
          </p:nvSpPr>
          <p:spPr>
            <a:xfrm>
              <a:off x="4318017" y="5260136"/>
              <a:ext cx="29239" cy="160401"/>
            </a:xfrm>
            <a:custGeom>
              <a:avLst/>
              <a:gdLst>
                <a:gd name="connsiteX0" fmla="*/ 29240 w 29239"/>
                <a:gd name="connsiteY0" fmla="*/ 0 h 160401"/>
                <a:gd name="connsiteX1" fmla="*/ 0 w 2923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160401">
                  <a:moveTo>
                    <a:pt x="2924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78435773-6540-4C34-9AEE-0035A700CBA2}"/>
                </a:ext>
              </a:extLst>
            </p:cNvPr>
            <p:cNvSpPr/>
            <p:nvPr/>
          </p:nvSpPr>
          <p:spPr>
            <a:xfrm>
              <a:off x="2267334" y="1207504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AF7ED7E9-56CE-475E-9A95-D4DC760ECA89}"/>
                </a:ext>
              </a:extLst>
            </p:cNvPr>
            <p:cNvSpPr/>
            <p:nvPr/>
          </p:nvSpPr>
          <p:spPr>
            <a:xfrm>
              <a:off x="2492063" y="1207504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0B06D3C9-2141-4780-8F21-9CE04246D262}"/>
                </a:ext>
              </a:extLst>
            </p:cNvPr>
            <p:cNvSpPr/>
            <p:nvPr/>
          </p:nvSpPr>
          <p:spPr>
            <a:xfrm>
              <a:off x="2721804" y="1207504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3F4D353-343B-4E67-986B-402B17F49B3B}"/>
                </a:ext>
              </a:extLst>
            </p:cNvPr>
            <p:cNvSpPr/>
            <p:nvPr/>
          </p:nvSpPr>
          <p:spPr>
            <a:xfrm>
              <a:off x="2951823" y="1207504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64A17488-0CC6-46BE-A5CA-3564468BBF6E}"/>
                </a:ext>
              </a:extLst>
            </p:cNvPr>
            <p:cNvSpPr/>
            <p:nvPr/>
          </p:nvSpPr>
          <p:spPr>
            <a:xfrm>
              <a:off x="2721804" y="533597"/>
              <a:ext cx="34809" cy="160401"/>
            </a:xfrm>
            <a:custGeom>
              <a:avLst/>
              <a:gdLst>
                <a:gd name="connsiteX0" fmla="*/ 34809 w 34809"/>
                <a:gd name="connsiteY0" fmla="*/ 0 h 160401"/>
                <a:gd name="connsiteX1" fmla="*/ 0 w 34809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160401">
                  <a:moveTo>
                    <a:pt x="34809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433B5545-8048-4E80-9288-6C30CAF17F64}"/>
                </a:ext>
              </a:extLst>
            </p:cNvPr>
            <p:cNvSpPr/>
            <p:nvPr/>
          </p:nvSpPr>
          <p:spPr>
            <a:xfrm>
              <a:off x="5002227" y="5035686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3E359587-CE23-4036-8FF9-0B539D489E24}"/>
                </a:ext>
              </a:extLst>
            </p:cNvPr>
            <p:cNvSpPr/>
            <p:nvPr/>
          </p:nvSpPr>
          <p:spPr>
            <a:xfrm>
              <a:off x="4774992" y="5035686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76CDC3C2-0187-4AAA-A8B0-1D2A8C51D599}"/>
                </a:ext>
              </a:extLst>
            </p:cNvPr>
            <p:cNvSpPr/>
            <p:nvPr/>
          </p:nvSpPr>
          <p:spPr>
            <a:xfrm>
              <a:off x="2492063" y="53359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D33F358C-70E7-45BF-92BF-6FAC74F332D8}"/>
                </a:ext>
              </a:extLst>
            </p:cNvPr>
            <p:cNvSpPr/>
            <p:nvPr/>
          </p:nvSpPr>
          <p:spPr>
            <a:xfrm>
              <a:off x="2492063" y="758325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EBE31A93-407C-49E2-B565-725BA9D08340}"/>
                </a:ext>
              </a:extLst>
            </p:cNvPr>
            <p:cNvSpPr/>
            <p:nvPr/>
          </p:nvSpPr>
          <p:spPr>
            <a:xfrm>
              <a:off x="226204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D1C1CBE-DB82-4B15-A604-62500AF46DE0}"/>
                </a:ext>
              </a:extLst>
            </p:cNvPr>
            <p:cNvSpPr/>
            <p:nvPr/>
          </p:nvSpPr>
          <p:spPr>
            <a:xfrm>
              <a:off x="2037593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720A2E97-4017-4D61-951A-5567967CAC2D}"/>
                </a:ext>
              </a:extLst>
            </p:cNvPr>
            <p:cNvSpPr/>
            <p:nvPr/>
          </p:nvSpPr>
          <p:spPr>
            <a:xfrm>
              <a:off x="1807574" y="758325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7D1817B5-8732-469A-B37C-5B12332C767B}"/>
                </a:ext>
              </a:extLst>
            </p:cNvPr>
            <p:cNvSpPr/>
            <p:nvPr/>
          </p:nvSpPr>
          <p:spPr>
            <a:xfrm>
              <a:off x="2267334" y="1431954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D82CD5F1-B359-469F-A366-0C9B0057B3A5}"/>
                </a:ext>
              </a:extLst>
            </p:cNvPr>
            <p:cNvSpPr/>
            <p:nvPr/>
          </p:nvSpPr>
          <p:spPr>
            <a:xfrm>
              <a:off x="8196880" y="3009231"/>
              <a:ext cx="40100" cy="160401"/>
            </a:xfrm>
            <a:custGeom>
              <a:avLst/>
              <a:gdLst>
                <a:gd name="connsiteX0" fmla="*/ 40100 w 40100"/>
                <a:gd name="connsiteY0" fmla="*/ 0 h 160401"/>
                <a:gd name="connsiteX1" fmla="*/ 0 w 40100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60401">
                  <a:moveTo>
                    <a:pt x="4010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9D552EF9-6905-482E-8D66-7EFB5DDB6CA9}"/>
                </a:ext>
              </a:extLst>
            </p:cNvPr>
            <p:cNvSpPr/>
            <p:nvPr/>
          </p:nvSpPr>
          <p:spPr>
            <a:xfrm>
              <a:off x="1353104" y="758325"/>
              <a:ext cx="32024" cy="160401"/>
            </a:xfrm>
            <a:custGeom>
              <a:avLst/>
              <a:gdLst>
                <a:gd name="connsiteX0" fmla="*/ 32024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004C7899-6172-4D91-92F5-612F61C117E7}"/>
                </a:ext>
              </a:extLst>
            </p:cNvPr>
            <p:cNvSpPr/>
            <p:nvPr/>
          </p:nvSpPr>
          <p:spPr>
            <a:xfrm>
              <a:off x="8196880" y="3233681"/>
              <a:ext cx="16151" cy="160401"/>
            </a:xfrm>
            <a:custGeom>
              <a:avLst/>
              <a:gdLst>
                <a:gd name="connsiteX0" fmla="*/ 16152 w 16151"/>
                <a:gd name="connsiteY0" fmla="*/ 0 h 160401"/>
                <a:gd name="connsiteX1" fmla="*/ 0 w 1615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160401">
                  <a:moveTo>
                    <a:pt x="1615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41FB7744-09A3-41FE-88B3-8FE09BB65408}"/>
                </a:ext>
              </a:extLst>
            </p:cNvPr>
            <p:cNvSpPr/>
            <p:nvPr/>
          </p:nvSpPr>
          <p:spPr>
            <a:xfrm>
              <a:off x="7967139" y="345840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88F20D1A-226B-4081-A846-347E61229CA0}"/>
                </a:ext>
              </a:extLst>
            </p:cNvPr>
            <p:cNvSpPr/>
            <p:nvPr/>
          </p:nvSpPr>
          <p:spPr>
            <a:xfrm>
              <a:off x="8196880" y="3458409"/>
              <a:ext cx="2784" cy="160401"/>
            </a:xfrm>
            <a:custGeom>
              <a:avLst/>
              <a:gdLst>
                <a:gd name="connsiteX0" fmla="*/ 0 w 2784"/>
                <a:gd name="connsiteY0" fmla="*/ 0 h 160401"/>
                <a:gd name="connsiteX1" fmla="*/ 0 w 278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60401">
                  <a:moveTo>
                    <a:pt x="0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3A6EC522-1DBF-46F1-A210-2E43B20919FB}"/>
                </a:ext>
              </a:extLst>
            </p:cNvPr>
            <p:cNvSpPr/>
            <p:nvPr/>
          </p:nvSpPr>
          <p:spPr>
            <a:xfrm>
              <a:off x="2267334" y="309147"/>
              <a:ext cx="26733" cy="160401"/>
            </a:xfrm>
            <a:custGeom>
              <a:avLst/>
              <a:gdLst>
                <a:gd name="connsiteX0" fmla="*/ 26733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399B27B7-7B6D-4A9E-8F9C-4546E69E6782}"/>
                </a:ext>
              </a:extLst>
            </p:cNvPr>
            <p:cNvSpPr/>
            <p:nvPr/>
          </p:nvSpPr>
          <p:spPr>
            <a:xfrm>
              <a:off x="2037593" y="309147"/>
              <a:ext cx="21442" cy="160401"/>
            </a:xfrm>
            <a:custGeom>
              <a:avLst/>
              <a:gdLst>
                <a:gd name="connsiteX0" fmla="*/ 21443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3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E943D417-829C-4BEB-A73B-68B4ED46127B}"/>
                </a:ext>
              </a:extLst>
            </p:cNvPr>
            <p:cNvSpPr/>
            <p:nvPr/>
          </p:nvSpPr>
          <p:spPr>
            <a:xfrm>
              <a:off x="1807574" y="309147"/>
              <a:ext cx="21442" cy="160401"/>
            </a:xfrm>
            <a:custGeom>
              <a:avLst/>
              <a:gdLst>
                <a:gd name="connsiteX0" fmla="*/ 21442 w 21442"/>
                <a:gd name="connsiteY0" fmla="*/ 0 h 160401"/>
                <a:gd name="connsiteX1" fmla="*/ 0 w 2144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160401">
                  <a:moveTo>
                    <a:pt x="2144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109BA5B0-07CD-4F46-8DBD-EECB664D9B7B}"/>
                </a:ext>
              </a:extLst>
            </p:cNvPr>
            <p:cNvSpPr/>
            <p:nvPr/>
          </p:nvSpPr>
          <p:spPr>
            <a:xfrm>
              <a:off x="1583124" y="309147"/>
              <a:ext cx="32024" cy="160401"/>
            </a:xfrm>
            <a:custGeom>
              <a:avLst/>
              <a:gdLst>
                <a:gd name="connsiteX0" fmla="*/ 32025 w 32024"/>
                <a:gd name="connsiteY0" fmla="*/ 0 h 160401"/>
                <a:gd name="connsiteX1" fmla="*/ 0 w 32024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60401">
                  <a:moveTo>
                    <a:pt x="32025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6EFC8CD7-A98C-4E99-BF33-34940E59952F}"/>
                </a:ext>
              </a:extLst>
            </p:cNvPr>
            <p:cNvSpPr/>
            <p:nvPr/>
          </p:nvSpPr>
          <p:spPr>
            <a:xfrm>
              <a:off x="7967139" y="3682859"/>
              <a:ext cx="10582" cy="160401"/>
            </a:xfrm>
            <a:custGeom>
              <a:avLst/>
              <a:gdLst>
                <a:gd name="connsiteX0" fmla="*/ 10582 w 10582"/>
                <a:gd name="connsiteY0" fmla="*/ 0 h 160401"/>
                <a:gd name="connsiteX1" fmla="*/ 0 w 10582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160401">
                  <a:moveTo>
                    <a:pt x="10582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2805CB89-5D44-4AA4-AEB3-BDCF5C87A7A5}"/>
                </a:ext>
              </a:extLst>
            </p:cNvPr>
            <p:cNvSpPr/>
            <p:nvPr/>
          </p:nvSpPr>
          <p:spPr>
            <a:xfrm>
              <a:off x="8196880" y="3682859"/>
              <a:ext cx="5291" cy="160401"/>
            </a:xfrm>
            <a:custGeom>
              <a:avLst/>
              <a:gdLst>
                <a:gd name="connsiteX0" fmla="*/ 5291 w 5291"/>
                <a:gd name="connsiteY0" fmla="*/ 0 h 160401"/>
                <a:gd name="connsiteX1" fmla="*/ 0 w 5291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0401">
                  <a:moveTo>
                    <a:pt x="5291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190D93EC-0ECB-40B3-A018-2B659FC1957B}"/>
                </a:ext>
              </a:extLst>
            </p:cNvPr>
            <p:cNvSpPr/>
            <p:nvPr/>
          </p:nvSpPr>
          <p:spPr>
            <a:xfrm>
              <a:off x="7967139" y="3907588"/>
              <a:ext cx="26733" cy="160401"/>
            </a:xfrm>
            <a:custGeom>
              <a:avLst/>
              <a:gdLst>
                <a:gd name="connsiteX0" fmla="*/ 26734 w 26733"/>
                <a:gd name="connsiteY0" fmla="*/ 0 h 160401"/>
                <a:gd name="connsiteX1" fmla="*/ 0 w 26733"/>
                <a:gd name="connsiteY1" fmla="*/ 160401 h 160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60401">
                  <a:moveTo>
                    <a:pt x="26734" y="0"/>
                  </a:moveTo>
                  <a:lnTo>
                    <a:pt x="0" y="1604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6F1413CB-9D50-4BEA-B49F-47C05AC6231F}"/>
                </a:ext>
              </a:extLst>
            </p:cNvPr>
            <p:cNvSpPr/>
            <p:nvPr/>
          </p:nvSpPr>
          <p:spPr>
            <a:xfrm>
              <a:off x="7734335" y="3912879"/>
              <a:ext cx="45669" cy="155110"/>
            </a:xfrm>
            <a:custGeom>
              <a:avLst/>
              <a:gdLst>
                <a:gd name="connsiteX0" fmla="*/ 45670 w 45669"/>
                <a:gd name="connsiteY0" fmla="*/ 0 h 155110"/>
                <a:gd name="connsiteX1" fmla="*/ 0 w 45669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55110">
                  <a:moveTo>
                    <a:pt x="4567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2F333EB4-96C4-4644-962A-F6C953712A3F}"/>
                </a:ext>
              </a:extLst>
            </p:cNvPr>
            <p:cNvSpPr/>
            <p:nvPr/>
          </p:nvSpPr>
          <p:spPr>
            <a:xfrm>
              <a:off x="2489278" y="1661974"/>
              <a:ext cx="50960" cy="154831"/>
            </a:xfrm>
            <a:custGeom>
              <a:avLst/>
              <a:gdLst>
                <a:gd name="connsiteX0" fmla="*/ 50961 w 50960"/>
                <a:gd name="connsiteY0" fmla="*/ 0 h 154831"/>
                <a:gd name="connsiteX1" fmla="*/ 0 w 50960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4831">
                  <a:moveTo>
                    <a:pt x="50961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627D3104-F4DE-480E-B4C7-4A8BCEB15C26}"/>
                </a:ext>
              </a:extLst>
            </p:cNvPr>
            <p:cNvSpPr/>
            <p:nvPr/>
          </p:nvSpPr>
          <p:spPr>
            <a:xfrm>
              <a:off x="7967139" y="3236465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E08C1371-901C-402A-924E-AAE29C8537B7}"/>
                </a:ext>
              </a:extLst>
            </p:cNvPr>
            <p:cNvSpPr/>
            <p:nvPr/>
          </p:nvSpPr>
          <p:spPr>
            <a:xfrm>
              <a:off x="1353104" y="536382"/>
              <a:ext cx="37593" cy="157616"/>
            </a:xfrm>
            <a:custGeom>
              <a:avLst/>
              <a:gdLst>
                <a:gd name="connsiteX0" fmla="*/ 37594 w 37593"/>
                <a:gd name="connsiteY0" fmla="*/ 0 h 157616"/>
                <a:gd name="connsiteX1" fmla="*/ 5291 w 37593"/>
                <a:gd name="connsiteY1" fmla="*/ 133668 h 157616"/>
                <a:gd name="connsiteX2" fmla="*/ 0 w 37593"/>
                <a:gd name="connsiteY2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593" h="157616">
                  <a:moveTo>
                    <a:pt x="37594" y="0"/>
                  </a:moveTo>
                  <a:lnTo>
                    <a:pt x="5291" y="133668"/>
                  </a:lnTo>
                  <a:lnTo>
                    <a:pt x="0" y="157616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DA980259-C74D-47E9-AEB9-F33BB7FD0ECC}"/>
                </a:ext>
              </a:extLst>
            </p:cNvPr>
            <p:cNvSpPr/>
            <p:nvPr/>
          </p:nvSpPr>
          <p:spPr>
            <a:xfrm>
              <a:off x="8418824" y="3912879"/>
              <a:ext cx="40100" cy="155110"/>
            </a:xfrm>
            <a:custGeom>
              <a:avLst/>
              <a:gdLst>
                <a:gd name="connsiteX0" fmla="*/ 40101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1385684-4B9F-4780-8E02-FEFE016AB38A}"/>
                </a:ext>
              </a:extLst>
            </p:cNvPr>
            <p:cNvSpPr/>
            <p:nvPr/>
          </p:nvSpPr>
          <p:spPr>
            <a:xfrm>
              <a:off x="4545251" y="5035686"/>
              <a:ext cx="37315" cy="157616"/>
            </a:xfrm>
            <a:custGeom>
              <a:avLst/>
              <a:gdLst>
                <a:gd name="connsiteX0" fmla="*/ 37315 w 37315"/>
                <a:gd name="connsiteY0" fmla="*/ 0 h 157616"/>
                <a:gd name="connsiteX1" fmla="*/ 0 w 37315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157616">
                  <a:moveTo>
                    <a:pt x="37315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FC5FFAD3-EDB0-4751-A67F-9BE44FDDBC09}"/>
                </a:ext>
              </a:extLst>
            </p:cNvPr>
            <p:cNvSpPr/>
            <p:nvPr/>
          </p:nvSpPr>
          <p:spPr>
            <a:xfrm>
              <a:off x="7737120" y="3682859"/>
              <a:ext cx="29518" cy="157894"/>
            </a:xfrm>
            <a:custGeom>
              <a:avLst/>
              <a:gdLst>
                <a:gd name="connsiteX0" fmla="*/ 29518 w 29518"/>
                <a:gd name="connsiteY0" fmla="*/ 0 h 157894"/>
                <a:gd name="connsiteX1" fmla="*/ 0 w 29518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157894">
                  <a:moveTo>
                    <a:pt x="29518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ADC5B200-2FD6-43EC-AB61-7B6924B14B9A}"/>
                </a:ext>
              </a:extLst>
            </p:cNvPr>
            <p:cNvSpPr/>
            <p:nvPr/>
          </p:nvSpPr>
          <p:spPr>
            <a:xfrm>
              <a:off x="3173767" y="121279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3C271D63-EB8B-49FF-AC62-BDC0834012C2}"/>
                </a:ext>
              </a:extLst>
            </p:cNvPr>
            <p:cNvSpPr/>
            <p:nvPr/>
          </p:nvSpPr>
          <p:spPr>
            <a:xfrm>
              <a:off x="5229462" y="5260136"/>
              <a:ext cx="40100" cy="157894"/>
            </a:xfrm>
            <a:custGeom>
              <a:avLst/>
              <a:gdLst>
                <a:gd name="connsiteX0" fmla="*/ 40100 w 40100"/>
                <a:gd name="connsiteY0" fmla="*/ 0 h 157894"/>
                <a:gd name="connsiteX1" fmla="*/ 0 w 40100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7894">
                  <a:moveTo>
                    <a:pt x="40100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454E5C60-C022-4C6B-81FE-8E4B51022AD4}"/>
                </a:ext>
              </a:extLst>
            </p:cNvPr>
            <p:cNvSpPr/>
            <p:nvPr/>
          </p:nvSpPr>
          <p:spPr>
            <a:xfrm>
              <a:off x="4545251" y="5262921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3A8570FC-395C-4100-8D10-A81EB9F09689}"/>
                </a:ext>
              </a:extLst>
            </p:cNvPr>
            <p:cNvSpPr/>
            <p:nvPr/>
          </p:nvSpPr>
          <p:spPr>
            <a:xfrm>
              <a:off x="2492063" y="1431954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01A56095-15F8-4068-992D-4F0A43310B3B}"/>
                </a:ext>
              </a:extLst>
            </p:cNvPr>
            <p:cNvSpPr/>
            <p:nvPr/>
          </p:nvSpPr>
          <p:spPr>
            <a:xfrm>
              <a:off x="2951823" y="1437245"/>
              <a:ext cx="40100" cy="155110"/>
            </a:xfrm>
            <a:custGeom>
              <a:avLst/>
              <a:gdLst>
                <a:gd name="connsiteX0" fmla="*/ 40100 w 40100"/>
                <a:gd name="connsiteY0" fmla="*/ 0 h 155110"/>
                <a:gd name="connsiteX1" fmla="*/ 0 w 4010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155110">
                  <a:moveTo>
                    <a:pt x="4010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4C8CF5EC-CF28-4D7D-9A29-9991DEBE8AE8}"/>
                </a:ext>
              </a:extLst>
            </p:cNvPr>
            <p:cNvSpPr/>
            <p:nvPr/>
          </p:nvSpPr>
          <p:spPr>
            <a:xfrm>
              <a:off x="1805068" y="1437245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B0DCC5F2-E6EC-4AE7-893F-7ED80C8571C9}"/>
                </a:ext>
              </a:extLst>
            </p:cNvPr>
            <p:cNvSpPr/>
            <p:nvPr/>
          </p:nvSpPr>
          <p:spPr>
            <a:xfrm>
              <a:off x="3173767" y="988067"/>
              <a:ext cx="45391" cy="155110"/>
            </a:xfrm>
            <a:custGeom>
              <a:avLst/>
              <a:gdLst>
                <a:gd name="connsiteX0" fmla="*/ 45391 w 45391"/>
                <a:gd name="connsiteY0" fmla="*/ 0 h 155110"/>
                <a:gd name="connsiteX1" fmla="*/ 0 w 45391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155110">
                  <a:moveTo>
                    <a:pt x="45391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BA03A5A9-065C-4B65-9BF3-8DDF1247ECE2}"/>
                </a:ext>
              </a:extLst>
            </p:cNvPr>
            <p:cNvSpPr/>
            <p:nvPr/>
          </p:nvSpPr>
          <p:spPr>
            <a:xfrm>
              <a:off x="8421609" y="3458409"/>
              <a:ext cx="21164" cy="157616"/>
            </a:xfrm>
            <a:custGeom>
              <a:avLst/>
              <a:gdLst>
                <a:gd name="connsiteX0" fmla="*/ 21164 w 21164"/>
                <a:gd name="connsiteY0" fmla="*/ 0 h 157616"/>
                <a:gd name="connsiteX1" fmla="*/ 0 w 21164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157616">
                  <a:moveTo>
                    <a:pt x="2116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560D239E-85B8-4444-B5CA-742DE6297681}"/>
                </a:ext>
              </a:extLst>
            </p:cNvPr>
            <p:cNvSpPr/>
            <p:nvPr/>
          </p:nvSpPr>
          <p:spPr>
            <a:xfrm>
              <a:off x="3173767" y="763616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BF5BFABB-5092-4EEF-8539-3311D1610114}"/>
                </a:ext>
              </a:extLst>
            </p:cNvPr>
            <p:cNvSpPr/>
            <p:nvPr/>
          </p:nvSpPr>
          <p:spPr>
            <a:xfrm>
              <a:off x="7737120" y="3458409"/>
              <a:ext cx="26733" cy="157616"/>
            </a:xfrm>
            <a:custGeom>
              <a:avLst/>
              <a:gdLst>
                <a:gd name="connsiteX0" fmla="*/ 26734 w 26733"/>
                <a:gd name="connsiteY0" fmla="*/ 0 h 157616"/>
                <a:gd name="connsiteX1" fmla="*/ 0 w 2673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7616">
                  <a:moveTo>
                    <a:pt x="26734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2C29D2AB-9DC4-40EA-AA56-E3C9F7CF44EC}"/>
                </a:ext>
              </a:extLst>
            </p:cNvPr>
            <p:cNvSpPr/>
            <p:nvPr/>
          </p:nvSpPr>
          <p:spPr>
            <a:xfrm>
              <a:off x="4999721" y="5484864"/>
              <a:ext cx="15873" cy="157616"/>
            </a:xfrm>
            <a:custGeom>
              <a:avLst/>
              <a:gdLst>
                <a:gd name="connsiteX0" fmla="*/ 15873 w 15873"/>
                <a:gd name="connsiteY0" fmla="*/ 0 h 157616"/>
                <a:gd name="connsiteX1" fmla="*/ 0 w 15873"/>
                <a:gd name="connsiteY1" fmla="*/ 157616 h 15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157616">
                  <a:moveTo>
                    <a:pt x="15873" y="0"/>
                  </a:moveTo>
                  <a:lnTo>
                    <a:pt x="0" y="1576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712D9F2A-3970-42B7-A9E7-E4ED9413273E}"/>
                </a:ext>
              </a:extLst>
            </p:cNvPr>
            <p:cNvSpPr/>
            <p:nvPr/>
          </p:nvSpPr>
          <p:spPr>
            <a:xfrm>
              <a:off x="8421609" y="3233681"/>
              <a:ext cx="32024" cy="157894"/>
            </a:xfrm>
            <a:custGeom>
              <a:avLst/>
              <a:gdLst>
                <a:gd name="connsiteX0" fmla="*/ 32024 w 32024"/>
                <a:gd name="connsiteY0" fmla="*/ 0 h 157894"/>
                <a:gd name="connsiteX1" fmla="*/ 0 w 32024"/>
                <a:gd name="connsiteY1" fmla="*/ 157895 h 157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157894">
                  <a:moveTo>
                    <a:pt x="32024" y="0"/>
                  </a:moveTo>
                  <a:lnTo>
                    <a:pt x="0" y="1578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7FDDEB3D-7233-4DE2-B3ED-FD7A76072963}"/>
                </a:ext>
              </a:extLst>
            </p:cNvPr>
            <p:cNvSpPr/>
            <p:nvPr/>
          </p:nvSpPr>
          <p:spPr>
            <a:xfrm>
              <a:off x="2951823" y="539166"/>
              <a:ext cx="50682" cy="154831"/>
            </a:xfrm>
            <a:custGeom>
              <a:avLst/>
              <a:gdLst>
                <a:gd name="connsiteX0" fmla="*/ 50682 w 50682"/>
                <a:gd name="connsiteY0" fmla="*/ 0 h 154831"/>
                <a:gd name="connsiteX1" fmla="*/ 0 w 50682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4831">
                  <a:moveTo>
                    <a:pt x="50682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FBFA74EF-A9C7-4901-A997-727F3990DA97}"/>
                </a:ext>
              </a:extLst>
            </p:cNvPr>
            <p:cNvSpPr/>
            <p:nvPr/>
          </p:nvSpPr>
          <p:spPr>
            <a:xfrm>
              <a:off x="7512670" y="3688150"/>
              <a:ext cx="50682" cy="155110"/>
            </a:xfrm>
            <a:custGeom>
              <a:avLst/>
              <a:gdLst>
                <a:gd name="connsiteX0" fmla="*/ 50682 w 50682"/>
                <a:gd name="connsiteY0" fmla="*/ 0 h 155110"/>
                <a:gd name="connsiteX1" fmla="*/ 0 w 50682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5110">
                  <a:moveTo>
                    <a:pt x="50682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E0BD37FD-BC89-4F79-A217-3570814CF687}"/>
                </a:ext>
              </a:extLst>
            </p:cNvPr>
            <p:cNvSpPr/>
            <p:nvPr/>
          </p:nvSpPr>
          <p:spPr>
            <a:xfrm>
              <a:off x="8421609" y="3685644"/>
              <a:ext cx="26733" cy="155110"/>
            </a:xfrm>
            <a:custGeom>
              <a:avLst/>
              <a:gdLst>
                <a:gd name="connsiteX0" fmla="*/ 26734 w 26733"/>
                <a:gd name="connsiteY0" fmla="*/ 0 h 155110"/>
                <a:gd name="connsiteX1" fmla="*/ 0 w 2673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5110">
                  <a:moveTo>
                    <a:pt x="26734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AD9CF80B-FDDA-4C2A-8BD5-D0F26671FADF}"/>
                </a:ext>
              </a:extLst>
            </p:cNvPr>
            <p:cNvSpPr/>
            <p:nvPr/>
          </p:nvSpPr>
          <p:spPr>
            <a:xfrm>
              <a:off x="4774992" y="4816527"/>
              <a:ext cx="53467" cy="154831"/>
            </a:xfrm>
            <a:custGeom>
              <a:avLst/>
              <a:gdLst>
                <a:gd name="connsiteX0" fmla="*/ 53467 w 53467"/>
                <a:gd name="connsiteY0" fmla="*/ 0 h 154831"/>
                <a:gd name="connsiteX1" fmla="*/ 0 w 53467"/>
                <a:gd name="connsiteY1" fmla="*/ 154832 h 15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54831">
                  <a:moveTo>
                    <a:pt x="53467" y="0"/>
                  </a:moveTo>
                  <a:lnTo>
                    <a:pt x="0" y="15483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2AC9F723-8BB0-49A6-8EE2-4142E095B497}"/>
                </a:ext>
              </a:extLst>
            </p:cNvPr>
            <p:cNvSpPr/>
            <p:nvPr/>
          </p:nvSpPr>
          <p:spPr>
            <a:xfrm>
              <a:off x="2494569" y="309147"/>
              <a:ext cx="42884" cy="155110"/>
            </a:xfrm>
            <a:custGeom>
              <a:avLst/>
              <a:gdLst>
                <a:gd name="connsiteX0" fmla="*/ 42885 w 42884"/>
                <a:gd name="connsiteY0" fmla="*/ 0 h 155110"/>
                <a:gd name="connsiteX1" fmla="*/ 0 w 428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5110">
                  <a:moveTo>
                    <a:pt x="42885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15D6BC58-012C-45E9-BCCF-DE974965025D}"/>
                </a:ext>
              </a:extLst>
            </p:cNvPr>
            <p:cNvSpPr/>
            <p:nvPr/>
          </p:nvSpPr>
          <p:spPr>
            <a:xfrm>
              <a:off x="3173767" y="1440030"/>
              <a:ext cx="50682" cy="152325"/>
            </a:xfrm>
            <a:custGeom>
              <a:avLst/>
              <a:gdLst>
                <a:gd name="connsiteX0" fmla="*/ 50682 w 50682"/>
                <a:gd name="connsiteY0" fmla="*/ 0 h 152325"/>
                <a:gd name="connsiteX1" fmla="*/ 0 w 50682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52325">
                  <a:moveTo>
                    <a:pt x="5068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6B772B68-2FA9-41C0-B2FC-16A0C6640F9B}"/>
                </a:ext>
              </a:extLst>
            </p:cNvPr>
            <p:cNvSpPr/>
            <p:nvPr/>
          </p:nvSpPr>
          <p:spPr>
            <a:xfrm>
              <a:off x="4090782" y="5265427"/>
              <a:ext cx="42606" cy="155110"/>
            </a:xfrm>
            <a:custGeom>
              <a:avLst/>
              <a:gdLst>
                <a:gd name="connsiteX0" fmla="*/ 42607 w 42606"/>
                <a:gd name="connsiteY0" fmla="*/ 0 h 155110"/>
                <a:gd name="connsiteX1" fmla="*/ 0 w 4260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5110">
                  <a:moveTo>
                    <a:pt x="4260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64051C13-0597-49CF-98D3-AB9C23E93B5D}"/>
                </a:ext>
              </a:extLst>
            </p:cNvPr>
            <p:cNvSpPr/>
            <p:nvPr/>
          </p:nvSpPr>
          <p:spPr>
            <a:xfrm>
              <a:off x="1580339" y="763616"/>
              <a:ext cx="2784" cy="155110"/>
            </a:xfrm>
            <a:custGeom>
              <a:avLst/>
              <a:gdLst>
                <a:gd name="connsiteX0" fmla="*/ 0 w 2784"/>
                <a:gd name="connsiteY0" fmla="*/ 0 h 155110"/>
                <a:gd name="connsiteX1" fmla="*/ 2785 w 2784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55110">
                  <a:moveTo>
                    <a:pt x="0" y="0"/>
                  </a:moveTo>
                  <a:lnTo>
                    <a:pt x="2785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06785760-64A5-4C40-8788-BD58024900AF}"/>
                </a:ext>
              </a:extLst>
            </p:cNvPr>
            <p:cNvSpPr/>
            <p:nvPr/>
          </p:nvSpPr>
          <p:spPr>
            <a:xfrm>
              <a:off x="7512670" y="3463700"/>
              <a:ext cx="47897" cy="155110"/>
            </a:xfrm>
            <a:custGeom>
              <a:avLst/>
              <a:gdLst>
                <a:gd name="connsiteX0" fmla="*/ 47898 w 47897"/>
                <a:gd name="connsiteY0" fmla="*/ 0 h 155110"/>
                <a:gd name="connsiteX1" fmla="*/ 0 w 47897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155110">
                  <a:moveTo>
                    <a:pt x="47898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57A1CBB5-905D-4D5A-896E-9ECFC8CD574C}"/>
                </a:ext>
              </a:extLst>
            </p:cNvPr>
            <p:cNvSpPr/>
            <p:nvPr/>
          </p:nvSpPr>
          <p:spPr>
            <a:xfrm>
              <a:off x="5459481" y="5265427"/>
              <a:ext cx="55973" cy="155110"/>
            </a:xfrm>
            <a:custGeom>
              <a:avLst/>
              <a:gdLst>
                <a:gd name="connsiteX0" fmla="*/ 55973 w 55973"/>
                <a:gd name="connsiteY0" fmla="*/ 0 h 155110"/>
                <a:gd name="connsiteX1" fmla="*/ 0 w 55973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5110">
                  <a:moveTo>
                    <a:pt x="55973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940996BD-CE58-42C4-BEB1-A6B3B50844CD}"/>
                </a:ext>
              </a:extLst>
            </p:cNvPr>
            <p:cNvSpPr/>
            <p:nvPr/>
          </p:nvSpPr>
          <p:spPr>
            <a:xfrm>
              <a:off x="5459481" y="5490155"/>
              <a:ext cx="48175" cy="155110"/>
            </a:xfrm>
            <a:custGeom>
              <a:avLst/>
              <a:gdLst>
                <a:gd name="connsiteX0" fmla="*/ 48176 w 48175"/>
                <a:gd name="connsiteY0" fmla="*/ 0 h 155110"/>
                <a:gd name="connsiteX1" fmla="*/ 0 w 48175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55110">
                  <a:moveTo>
                    <a:pt x="48176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6BDD835-54D2-4BE7-BABF-BB4A1272920D}"/>
                </a:ext>
              </a:extLst>
            </p:cNvPr>
            <p:cNvSpPr/>
            <p:nvPr/>
          </p:nvSpPr>
          <p:spPr>
            <a:xfrm>
              <a:off x="7739905" y="3014522"/>
              <a:ext cx="53466" cy="155110"/>
            </a:xfrm>
            <a:custGeom>
              <a:avLst/>
              <a:gdLst>
                <a:gd name="connsiteX0" fmla="*/ 53467 w 53466"/>
                <a:gd name="connsiteY0" fmla="*/ 0 h 155110"/>
                <a:gd name="connsiteX1" fmla="*/ 0 w 53466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55110">
                  <a:moveTo>
                    <a:pt x="53467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F102C415-F774-4DD9-8E07-0608D969AEA9}"/>
                </a:ext>
              </a:extLst>
            </p:cNvPr>
            <p:cNvSpPr/>
            <p:nvPr/>
          </p:nvSpPr>
          <p:spPr>
            <a:xfrm>
              <a:off x="8424115" y="3014522"/>
              <a:ext cx="50960" cy="155110"/>
            </a:xfrm>
            <a:custGeom>
              <a:avLst/>
              <a:gdLst>
                <a:gd name="connsiteX0" fmla="*/ 50960 w 50960"/>
                <a:gd name="connsiteY0" fmla="*/ 0 h 155110"/>
                <a:gd name="connsiteX1" fmla="*/ 0 w 50960"/>
                <a:gd name="connsiteY1" fmla="*/ 155110 h 15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5110">
                  <a:moveTo>
                    <a:pt x="50960" y="0"/>
                  </a:moveTo>
                  <a:lnTo>
                    <a:pt x="0" y="1551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32A0ADBB-F26F-4D13-902A-006DCD2AA2EF}"/>
                </a:ext>
              </a:extLst>
            </p:cNvPr>
            <p:cNvSpPr/>
            <p:nvPr/>
          </p:nvSpPr>
          <p:spPr>
            <a:xfrm>
              <a:off x="4318017" y="504376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E879BC0C-A227-419A-865D-D75FC573E774}"/>
                </a:ext>
              </a:extLst>
            </p:cNvPr>
            <p:cNvSpPr/>
            <p:nvPr/>
          </p:nvSpPr>
          <p:spPr>
            <a:xfrm>
              <a:off x="4090782" y="5492662"/>
              <a:ext cx="34530" cy="152603"/>
            </a:xfrm>
            <a:custGeom>
              <a:avLst/>
              <a:gdLst>
                <a:gd name="connsiteX0" fmla="*/ 34531 w 34530"/>
                <a:gd name="connsiteY0" fmla="*/ 0 h 152603"/>
                <a:gd name="connsiteX1" fmla="*/ 0 w 34530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152603">
                  <a:moveTo>
                    <a:pt x="34531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5EA8331B-45AF-4878-8816-0787365AC998}"/>
                </a:ext>
              </a:extLst>
            </p:cNvPr>
            <p:cNvSpPr/>
            <p:nvPr/>
          </p:nvSpPr>
          <p:spPr>
            <a:xfrm>
              <a:off x="8196880" y="3915385"/>
              <a:ext cx="24227" cy="152603"/>
            </a:xfrm>
            <a:custGeom>
              <a:avLst/>
              <a:gdLst>
                <a:gd name="connsiteX0" fmla="*/ 24227 w 24227"/>
                <a:gd name="connsiteY0" fmla="*/ 0 h 152603"/>
                <a:gd name="connsiteX1" fmla="*/ 0 w 24227"/>
                <a:gd name="connsiteY1" fmla="*/ 152604 h 152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152603">
                  <a:moveTo>
                    <a:pt x="24227" y="0"/>
                  </a:moveTo>
                  <a:lnTo>
                    <a:pt x="0" y="1526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5839439-7A52-44A0-9541-7F09144AB63A}"/>
                </a:ext>
              </a:extLst>
            </p:cNvPr>
            <p:cNvSpPr/>
            <p:nvPr/>
          </p:nvSpPr>
          <p:spPr>
            <a:xfrm>
              <a:off x="7967139" y="3014522"/>
              <a:ext cx="42606" cy="152325"/>
            </a:xfrm>
            <a:custGeom>
              <a:avLst/>
              <a:gdLst>
                <a:gd name="connsiteX0" fmla="*/ 42607 w 42606"/>
                <a:gd name="connsiteY0" fmla="*/ 0 h 152325"/>
                <a:gd name="connsiteX1" fmla="*/ 0 w 42606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152325">
                  <a:moveTo>
                    <a:pt x="42607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893EE397-3E06-49FF-889A-01C339C5FC45}"/>
                </a:ext>
              </a:extLst>
            </p:cNvPr>
            <p:cNvSpPr/>
            <p:nvPr/>
          </p:nvSpPr>
          <p:spPr>
            <a:xfrm>
              <a:off x="3863547" y="5495446"/>
              <a:ext cx="58758" cy="149819"/>
            </a:xfrm>
            <a:custGeom>
              <a:avLst/>
              <a:gdLst>
                <a:gd name="connsiteX0" fmla="*/ 58758 w 58758"/>
                <a:gd name="connsiteY0" fmla="*/ 0 h 149819"/>
                <a:gd name="connsiteX1" fmla="*/ 0 w 5875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9819">
                  <a:moveTo>
                    <a:pt x="5875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9FB35956-7344-49D2-B5CA-51659752DA52}"/>
                </a:ext>
              </a:extLst>
            </p:cNvPr>
            <p:cNvSpPr/>
            <p:nvPr/>
          </p:nvSpPr>
          <p:spPr>
            <a:xfrm>
              <a:off x="4090782" y="5040977"/>
              <a:ext cx="55973" cy="152325"/>
            </a:xfrm>
            <a:custGeom>
              <a:avLst/>
              <a:gdLst>
                <a:gd name="connsiteX0" fmla="*/ 55973 w 55973"/>
                <a:gd name="connsiteY0" fmla="*/ 0 h 152325"/>
                <a:gd name="connsiteX1" fmla="*/ 0 w 5597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152325">
                  <a:moveTo>
                    <a:pt x="5597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7A469EE-15DB-496D-9813-2C1368A1DA4E}"/>
                </a:ext>
              </a:extLst>
            </p:cNvPr>
            <p:cNvSpPr/>
            <p:nvPr/>
          </p:nvSpPr>
          <p:spPr>
            <a:xfrm>
              <a:off x="8651350" y="3463700"/>
              <a:ext cx="42884" cy="152325"/>
            </a:xfrm>
            <a:custGeom>
              <a:avLst/>
              <a:gdLst>
                <a:gd name="connsiteX0" fmla="*/ 42885 w 42884"/>
                <a:gd name="connsiteY0" fmla="*/ 0 h 152325"/>
                <a:gd name="connsiteX1" fmla="*/ 0 w 42884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152325">
                  <a:moveTo>
                    <a:pt x="42885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C88A3B35-3D0A-46F1-8523-F3AA62FF9FD5}"/>
                </a:ext>
              </a:extLst>
            </p:cNvPr>
            <p:cNvSpPr/>
            <p:nvPr/>
          </p:nvSpPr>
          <p:spPr>
            <a:xfrm>
              <a:off x="3173767" y="1669771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0DBC4A8A-367F-4CD3-B068-37CFDA665EC7}"/>
                </a:ext>
              </a:extLst>
            </p:cNvPr>
            <p:cNvSpPr/>
            <p:nvPr/>
          </p:nvSpPr>
          <p:spPr>
            <a:xfrm>
              <a:off x="2721804" y="1440030"/>
              <a:ext cx="26733" cy="152325"/>
            </a:xfrm>
            <a:custGeom>
              <a:avLst/>
              <a:gdLst>
                <a:gd name="connsiteX0" fmla="*/ 26734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4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9E27C14B-A10D-45AB-BE14-FFB7DC61A204}"/>
                </a:ext>
              </a:extLst>
            </p:cNvPr>
            <p:cNvSpPr/>
            <p:nvPr/>
          </p:nvSpPr>
          <p:spPr>
            <a:xfrm>
              <a:off x="2037593" y="1440030"/>
              <a:ext cx="26733" cy="152325"/>
            </a:xfrm>
            <a:custGeom>
              <a:avLst/>
              <a:gdLst>
                <a:gd name="connsiteX0" fmla="*/ 26733 w 26733"/>
                <a:gd name="connsiteY0" fmla="*/ 0 h 152325"/>
                <a:gd name="connsiteX1" fmla="*/ 0 w 26733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152325">
                  <a:moveTo>
                    <a:pt x="26733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D9FB4D88-0FB3-48A0-BF9C-D248C8E7D557}"/>
                </a:ext>
              </a:extLst>
            </p:cNvPr>
            <p:cNvSpPr/>
            <p:nvPr/>
          </p:nvSpPr>
          <p:spPr>
            <a:xfrm>
              <a:off x="1353104" y="314438"/>
              <a:ext cx="56251" cy="152325"/>
            </a:xfrm>
            <a:custGeom>
              <a:avLst/>
              <a:gdLst>
                <a:gd name="connsiteX0" fmla="*/ 56252 w 56251"/>
                <a:gd name="connsiteY0" fmla="*/ 0 h 152325"/>
                <a:gd name="connsiteX1" fmla="*/ 0 w 56251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52325">
                  <a:moveTo>
                    <a:pt x="56252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DEDBE0F4-923A-4867-9FE1-AF09D4FFE144}"/>
                </a:ext>
              </a:extLst>
            </p:cNvPr>
            <p:cNvSpPr/>
            <p:nvPr/>
          </p:nvSpPr>
          <p:spPr>
            <a:xfrm>
              <a:off x="8651350" y="3690935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C621FEB8-1A52-4750-AA50-57A79E319B75}"/>
                </a:ext>
              </a:extLst>
            </p:cNvPr>
            <p:cNvSpPr/>
            <p:nvPr/>
          </p:nvSpPr>
          <p:spPr>
            <a:xfrm>
              <a:off x="7512670" y="3244541"/>
              <a:ext cx="53466" cy="149540"/>
            </a:xfrm>
            <a:custGeom>
              <a:avLst/>
              <a:gdLst>
                <a:gd name="connsiteX0" fmla="*/ 53467 w 53466"/>
                <a:gd name="connsiteY0" fmla="*/ 0 h 149540"/>
                <a:gd name="connsiteX1" fmla="*/ 0 w 53466"/>
                <a:gd name="connsiteY1" fmla="*/ 149540 h 14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9540">
                  <a:moveTo>
                    <a:pt x="53467" y="0"/>
                  </a:moveTo>
                  <a:lnTo>
                    <a:pt x="0" y="1495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749363E5-F53B-490A-9053-0678C425EB24}"/>
                </a:ext>
              </a:extLst>
            </p:cNvPr>
            <p:cNvSpPr/>
            <p:nvPr/>
          </p:nvSpPr>
          <p:spPr>
            <a:xfrm>
              <a:off x="3179058" y="1897006"/>
              <a:ext cx="69618" cy="149819"/>
            </a:xfrm>
            <a:custGeom>
              <a:avLst/>
              <a:gdLst>
                <a:gd name="connsiteX0" fmla="*/ 69618 w 69618"/>
                <a:gd name="connsiteY0" fmla="*/ 0 h 149819"/>
                <a:gd name="connsiteX1" fmla="*/ 0 w 69618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49819">
                  <a:moveTo>
                    <a:pt x="69618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A79FDAD8-3CE0-442F-B5D4-C37AC6674464}"/>
                </a:ext>
              </a:extLst>
            </p:cNvPr>
            <p:cNvSpPr/>
            <p:nvPr/>
          </p:nvSpPr>
          <p:spPr>
            <a:xfrm>
              <a:off x="1353104" y="990851"/>
              <a:ext cx="42884" cy="149818"/>
            </a:xfrm>
            <a:custGeom>
              <a:avLst/>
              <a:gdLst>
                <a:gd name="connsiteX0" fmla="*/ 42885 w 42884"/>
                <a:gd name="connsiteY0" fmla="*/ 0 h 149818"/>
                <a:gd name="connsiteX1" fmla="*/ 5291 w 42884"/>
                <a:gd name="connsiteY1" fmla="*/ 136452 h 149818"/>
                <a:gd name="connsiteX2" fmla="*/ 0 w 42884"/>
                <a:gd name="connsiteY2" fmla="*/ 149819 h 1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84" h="149818">
                  <a:moveTo>
                    <a:pt x="42885" y="0"/>
                  </a:moveTo>
                  <a:lnTo>
                    <a:pt x="5291" y="136452"/>
                  </a:lnTo>
                  <a:lnTo>
                    <a:pt x="0" y="149819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E9E8F4F7-7D50-4BCC-865E-D23EC012D2C2}"/>
                </a:ext>
              </a:extLst>
            </p:cNvPr>
            <p:cNvSpPr/>
            <p:nvPr/>
          </p:nvSpPr>
          <p:spPr>
            <a:xfrm>
              <a:off x="8196880" y="4142620"/>
              <a:ext cx="48175" cy="149819"/>
            </a:xfrm>
            <a:custGeom>
              <a:avLst/>
              <a:gdLst>
                <a:gd name="connsiteX0" fmla="*/ 48176 w 48175"/>
                <a:gd name="connsiteY0" fmla="*/ 0 h 149819"/>
                <a:gd name="connsiteX1" fmla="*/ 0 w 48175"/>
                <a:gd name="connsiteY1" fmla="*/ 149819 h 149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9819">
                  <a:moveTo>
                    <a:pt x="48176" y="0"/>
                  </a:moveTo>
                  <a:lnTo>
                    <a:pt x="0" y="1498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75E2C70C-FA27-4A0C-AD00-4CBD69E124CD}"/>
                </a:ext>
              </a:extLst>
            </p:cNvPr>
            <p:cNvSpPr/>
            <p:nvPr/>
          </p:nvSpPr>
          <p:spPr>
            <a:xfrm>
              <a:off x="7512670" y="3918170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298D3514-6489-493B-A1CE-E2305903C247}"/>
                </a:ext>
              </a:extLst>
            </p:cNvPr>
            <p:cNvSpPr/>
            <p:nvPr/>
          </p:nvSpPr>
          <p:spPr>
            <a:xfrm>
              <a:off x="8196880" y="2795363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374DFB06-D86B-4724-9206-F5584AC68F4A}"/>
                </a:ext>
              </a:extLst>
            </p:cNvPr>
            <p:cNvSpPr/>
            <p:nvPr/>
          </p:nvSpPr>
          <p:spPr>
            <a:xfrm>
              <a:off x="3863547" y="5273503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67CCDF42-123B-4162-A517-F8C7FDD9E578}"/>
                </a:ext>
              </a:extLst>
            </p:cNvPr>
            <p:cNvSpPr/>
            <p:nvPr/>
          </p:nvSpPr>
          <p:spPr>
            <a:xfrm>
              <a:off x="5232247" y="5043762"/>
              <a:ext cx="50682" cy="147034"/>
            </a:xfrm>
            <a:custGeom>
              <a:avLst/>
              <a:gdLst>
                <a:gd name="connsiteX0" fmla="*/ 50682 w 50682"/>
                <a:gd name="connsiteY0" fmla="*/ 0 h 147034"/>
                <a:gd name="connsiteX1" fmla="*/ 0 w 5068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147034">
                  <a:moveTo>
                    <a:pt x="5068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B1C0D4EA-8EDA-4207-8FAD-FCCC2C7EB73B}"/>
                </a:ext>
              </a:extLst>
            </p:cNvPr>
            <p:cNvSpPr/>
            <p:nvPr/>
          </p:nvSpPr>
          <p:spPr>
            <a:xfrm>
              <a:off x="4318017" y="4824324"/>
              <a:ext cx="61264" cy="147034"/>
            </a:xfrm>
            <a:custGeom>
              <a:avLst/>
              <a:gdLst>
                <a:gd name="connsiteX0" fmla="*/ 61264 w 61264"/>
                <a:gd name="connsiteY0" fmla="*/ 0 h 147034"/>
                <a:gd name="connsiteX1" fmla="*/ 0 w 61264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147034">
                  <a:moveTo>
                    <a:pt x="6126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59EDC5D2-55EC-4396-A6B3-9911F3E4F8EA}"/>
                </a:ext>
              </a:extLst>
            </p:cNvPr>
            <p:cNvSpPr/>
            <p:nvPr/>
          </p:nvSpPr>
          <p:spPr>
            <a:xfrm>
              <a:off x="2951823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1059163E-237E-4714-A1A2-113CE4032442}"/>
                </a:ext>
              </a:extLst>
            </p:cNvPr>
            <p:cNvSpPr/>
            <p:nvPr/>
          </p:nvSpPr>
          <p:spPr>
            <a:xfrm>
              <a:off x="2267334" y="1669771"/>
              <a:ext cx="48175" cy="147034"/>
            </a:xfrm>
            <a:custGeom>
              <a:avLst/>
              <a:gdLst>
                <a:gd name="connsiteX0" fmla="*/ 48176 w 48175"/>
                <a:gd name="connsiteY0" fmla="*/ 0 h 147034"/>
                <a:gd name="connsiteX1" fmla="*/ 0 w 48175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147034">
                  <a:moveTo>
                    <a:pt x="48176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9AE06B7A-104E-433A-83BC-2412DAA37787}"/>
                </a:ext>
              </a:extLst>
            </p:cNvPr>
            <p:cNvSpPr/>
            <p:nvPr/>
          </p:nvSpPr>
          <p:spPr>
            <a:xfrm>
              <a:off x="5002227" y="4824324"/>
              <a:ext cx="56251" cy="147034"/>
            </a:xfrm>
            <a:custGeom>
              <a:avLst/>
              <a:gdLst>
                <a:gd name="connsiteX0" fmla="*/ 56252 w 56251"/>
                <a:gd name="connsiteY0" fmla="*/ 0 h 147034"/>
                <a:gd name="connsiteX1" fmla="*/ 0 w 56251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147034">
                  <a:moveTo>
                    <a:pt x="56252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FD2BBBAC-516D-4E49-8EA3-C3D996EBCE14}"/>
                </a:ext>
              </a:extLst>
            </p:cNvPr>
            <p:cNvSpPr/>
            <p:nvPr/>
          </p:nvSpPr>
          <p:spPr>
            <a:xfrm>
              <a:off x="2037593" y="1667265"/>
              <a:ext cx="58758" cy="147034"/>
            </a:xfrm>
            <a:custGeom>
              <a:avLst/>
              <a:gdLst>
                <a:gd name="connsiteX0" fmla="*/ 58758 w 58758"/>
                <a:gd name="connsiteY0" fmla="*/ 0 h 147034"/>
                <a:gd name="connsiteX1" fmla="*/ 0 w 58758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7034">
                  <a:moveTo>
                    <a:pt x="58758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07C6C898-F45E-45B9-B7F4-824BBDB12024}"/>
                </a:ext>
              </a:extLst>
            </p:cNvPr>
            <p:cNvSpPr/>
            <p:nvPr/>
          </p:nvSpPr>
          <p:spPr>
            <a:xfrm>
              <a:off x="5459481" y="5046268"/>
              <a:ext cx="66833" cy="147034"/>
            </a:xfrm>
            <a:custGeom>
              <a:avLst/>
              <a:gdLst>
                <a:gd name="connsiteX0" fmla="*/ 66834 w 66833"/>
                <a:gd name="connsiteY0" fmla="*/ 0 h 147034"/>
                <a:gd name="connsiteX1" fmla="*/ 0 w 66833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7034">
                  <a:moveTo>
                    <a:pt x="66834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299EAAEE-1251-43A3-8301-544EF78B8FCD}"/>
                </a:ext>
              </a:extLst>
            </p:cNvPr>
            <p:cNvSpPr/>
            <p:nvPr/>
          </p:nvSpPr>
          <p:spPr>
            <a:xfrm>
              <a:off x="3406293" y="1442536"/>
              <a:ext cx="53467" cy="147034"/>
            </a:xfrm>
            <a:custGeom>
              <a:avLst/>
              <a:gdLst>
                <a:gd name="connsiteX0" fmla="*/ 53467 w 53467"/>
                <a:gd name="connsiteY0" fmla="*/ 0 h 147034"/>
                <a:gd name="connsiteX1" fmla="*/ 0 w 53467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7034">
                  <a:moveTo>
                    <a:pt x="53467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F5498F25-F0AA-4EC6-A196-83DDBF13A604}"/>
                </a:ext>
              </a:extLst>
            </p:cNvPr>
            <p:cNvSpPr/>
            <p:nvPr/>
          </p:nvSpPr>
          <p:spPr>
            <a:xfrm>
              <a:off x="1583124" y="1442536"/>
              <a:ext cx="61542" cy="147034"/>
            </a:xfrm>
            <a:custGeom>
              <a:avLst/>
              <a:gdLst>
                <a:gd name="connsiteX0" fmla="*/ 61543 w 61542"/>
                <a:gd name="connsiteY0" fmla="*/ 0 h 147034"/>
                <a:gd name="connsiteX1" fmla="*/ 0 w 61542"/>
                <a:gd name="connsiteY1" fmla="*/ 147034 h 14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47034">
                  <a:moveTo>
                    <a:pt x="61543" y="0"/>
                  </a:moveTo>
                  <a:lnTo>
                    <a:pt x="0" y="1470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BFDB21D9-969B-4C18-AA9D-464ABD9504E0}"/>
                </a:ext>
              </a:extLst>
            </p:cNvPr>
            <p:cNvSpPr/>
            <p:nvPr/>
          </p:nvSpPr>
          <p:spPr>
            <a:xfrm>
              <a:off x="2721804" y="322514"/>
              <a:ext cx="59036" cy="144249"/>
            </a:xfrm>
            <a:custGeom>
              <a:avLst/>
              <a:gdLst>
                <a:gd name="connsiteX0" fmla="*/ 59036 w 59036"/>
                <a:gd name="connsiteY0" fmla="*/ 0 h 144249"/>
                <a:gd name="connsiteX1" fmla="*/ 0 w 59036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036" h="144249">
                  <a:moveTo>
                    <a:pt x="59036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D60E4385-0709-414B-A206-83C4867F177D}"/>
                </a:ext>
              </a:extLst>
            </p:cNvPr>
            <p:cNvSpPr/>
            <p:nvPr/>
          </p:nvSpPr>
          <p:spPr>
            <a:xfrm>
              <a:off x="2951823" y="325298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CD9D25CF-AB2B-4157-8BCA-2E127B100A2E}"/>
                </a:ext>
              </a:extLst>
            </p:cNvPr>
            <p:cNvSpPr/>
            <p:nvPr/>
          </p:nvSpPr>
          <p:spPr>
            <a:xfrm>
              <a:off x="7967139" y="4145405"/>
              <a:ext cx="53466" cy="144249"/>
            </a:xfrm>
            <a:custGeom>
              <a:avLst/>
              <a:gdLst>
                <a:gd name="connsiteX0" fmla="*/ 53467 w 53466"/>
                <a:gd name="connsiteY0" fmla="*/ 0 h 144249"/>
                <a:gd name="connsiteX1" fmla="*/ 0 w 53466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144249">
                  <a:moveTo>
                    <a:pt x="53467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3A095833-BF5E-4A51-B3F2-EC6A05A83AA6}"/>
                </a:ext>
              </a:extLst>
            </p:cNvPr>
            <p:cNvSpPr/>
            <p:nvPr/>
          </p:nvSpPr>
          <p:spPr>
            <a:xfrm>
              <a:off x="5689222" y="5500737"/>
              <a:ext cx="66833" cy="144527"/>
            </a:xfrm>
            <a:custGeom>
              <a:avLst/>
              <a:gdLst>
                <a:gd name="connsiteX0" fmla="*/ 66834 w 66833"/>
                <a:gd name="connsiteY0" fmla="*/ 0 h 144527"/>
                <a:gd name="connsiteX1" fmla="*/ 0 w 66833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4527">
                  <a:moveTo>
                    <a:pt x="66834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DBA91DBB-5A22-413E-8246-4FCC13DDA891}"/>
                </a:ext>
              </a:extLst>
            </p:cNvPr>
            <p:cNvSpPr/>
            <p:nvPr/>
          </p:nvSpPr>
          <p:spPr>
            <a:xfrm>
              <a:off x="3406293" y="1220871"/>
              <a:ext cx="53467" cy="144249"/>
            </a:xfrm>
            <a:custGeom>
              <a:avLst/>
              <a:gdLst>
                <a:gd name="connsiteX0" fmla="*/ 53467 w 53467"/>
                <a:gd name="connsiteY0" fmla="*/ 0 h 144249"/>
                <a:gd name="connsiteX1" fmla="*/ 0 w 53467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4249">
                  <a:moveTo>
                    <a:pt x="53467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C4665210-44A4-4888-BBCF-CC13BDC623EC}"/>
                </a:ext>
              </a:extLst>
            </p:cNvPr>
            <p:cNvSpPr/>
            <p:nvPr/>
          </p:nvSpPr>
          <p:spPr>
            <a:xfrm>
              <a:off x="8651350" y="3920954"/>
              <a:ext cx="58758" cy="144249"/>
            </a:xfrm>
            <a:custGeom>
              <a:avLst/>
              <a:gdLst>
                <a:gd name="connsiteX0" fmla="*/ 58758 w 58758"/>
                <a:gd name="connsiteY0" fmla="*/ 0 h 144249"/>
                <a:gd name="connsiteX1" fmla="*/ 0 w 58758"/>
                <a:gd name="connsiteY1" fmla="*/ 144249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249">
                  <a:moveTo>
                    <a:pt x="58758" y="0"/>
                  </a:moveTo>
                  <a:lnTo>
                    <a:pt x="0" y="1442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18C06988-15A9-4057-B11B-5334DA437C66}"/>
                </a:ext>
              </a:extLst>
            </p:cNvPr>
            <p:cNvSpPr/>
            <p:nvPr/>
          </p:nvSpPr>
          <p:spPr>
            <a:xfrm>
              <a:off x="3406293" y="996142"/>
              <a:ext cx="58758" cy="144527"/>
            </a:xfrm>
            <a:custGeom>
              <a:avLst/>
              <a:gdLst>
                <a:gd name="connsiteX0" fmla="*/ 58758 w 58758"/>
                <a:gd name="connsiteY0" fmla="*/ 0 h 144527"/>
                <a:gd name="connsiteX1" fmla="*/ 0 w 58758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4527">
                  <a:moveTo>
                    <a:pt x="58758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C13039B-1E95-4D59-BEA8-6372BC18DE11}"/>
                </a:ext>
              </a:extLst>
            </p:cNvPr>
            <p:cNvSpPr/>
            <p:nvPr/>
          </p:nvSpPr>
          <p:spPr>
            <a:xfrm>
              <a:off x="2721804" y="1669771"/>
              <a:ext cx="45669" cy="144527"/>
            </a:xfrm>
            <a:custGeom>
              <a:avLst/>
              <a:gdLst>
                <a:gd name="connsiteX0" fmla="*/ 45670 w 45669"/>
                <a:gd name="connsiteY0" fmla="*/ 0 h 144527"/>
                <a:gd name="connsiteX1" fmla="*/ 0 w 4566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69" h="144527">
                  <a:moveTo>
                    <a:pt x="45670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C6E2115C-758B-4A48-B03A-E6EA88CC6293}"/>
                </a:ext>
              </a:extLst>
            </p:cNvPr>
            <p:cNvSpPr/>
            <p:nvPr/>
          </p:nvSpPr>
          <p:spPr>
            <a:xfrm>
              <a:off x="3406293" y="774198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10582 w 72124"/>
                <a:gd name="connsiteY1" fmla="*/ 123086 h 141743"/>
                <a:gd name="connsiteX2" fmla="*/ 0 w 72124"/>
                <a:gd name="connsiteY2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10582" y="123086"/>
                  </a:lnTo>
                  <a:lnTo>
                    <a:pt x="0" y="141743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A9C67451-CE2B-424E-9C55-9837B7F69D55}"/>
                </a:ext>
              </a:extLst>
            </p:cNvPr>
            <p:cNvSpPr/>
            <p:nvPr/>
          </p:nvSpPr>
          <p:spPr>
            <a:xfrm>
              <a:off x="3403508" y="1902575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8A8B02DB-06EE-441F-A755-912F29D23D16}"/>
                </a:ext>
              </a:extLst>
            </p:cNvPr>
            <p:cNvSpPr/>
            <p:nvPr/>
          </p:nvSpPr>
          <p:spPr>
            <a:xfrm>
              <a:off x="5689222" y="5276287"/>
              <a:ext cx="72403" cy="144249"/>
            </a:xfrm>
            <a:custGeom>
              <a:avLst/>
              <a:gdLst>
                <a:gd name="connsiteX0" fmla="*/ 72403 w 72403"/>
                <a:gd name="connsiteY0" fmla="*/ 0 h 144249"/>
                <a:gd name="connsiteX1" fmla="*/ 0 w 72403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144249">
                  <a:moveTo>
                    <a:pt x="72403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8A523404-8338-4501-BB62-82E5890C9226}"/>
                </a:ext>
              </a:extLst>
            </p:cNvPr>
            <p:cNvSpPr/>
            <p:nvPr/>
          </p:nvSpPr>
          <p:spPr>
            <a:xfrm>
              <a:off x="4547758" y="4602659"/>
              <a:ext cx="72124" cy="144249"/>
            </a:xfrm>
            <a:custGeom>
              <a:avLst/>
              <a:gdLst>
                <a:gd name="connsiteX0" fmla="*/ 72125 w 72124"/>
                <a:gd name="connsiteY0" fmla="*/ 0 h 144249"/>
                <a:gd name="connsiteX1" fmla="*/ 0 w 72124"/>
                <a:gd name="connsiteY1" fmla="*/ 144250 h 144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4249">
                  <a:moveTo>
                    <a:pt x="72125" y="0"/>
                  </a:moveTo>
                  <a:lnTo>
                    <a:pt x="0" y="14425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9FD76B4A-8BB0-40A5-B9CA-70C372D8EA68}"/>
                </a:ext>
              </a:extLst>
            </p:cNvPr>
            <p:cNvSpPr/>
            <p:nvPr/>
          </p:nvSpPr>
          <p:spPr>
            <a:xfrm>
              <a:off x="8651350" y="3025382"/>
              <a:ext cx="72124" cy="141464"/>
            </a:xfrm>
            <a:custGeom>
              <a:avLst/>
              <a:gdLst>
                <a:gd name="connsiteX0" fmla="*/ 72125 w 72124"/>
                <a:gd name="connsiteY0" fmla="*/ 0 h 141464"/>
                <a:gd name="connsiteX1" fmla="*/ 0 w 72124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464">
                  <a:moveTo>
                    <a:pt x="72125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6B77F4AB-A5A9-4A3D-8434-6EEB963806E5}"/>
                </a:ext>
              </a:extLst>
            </p:cNvPr>
            <p:cNvSpPr/>
            <p:nvPr/>
          </p:nvSpPr>
          <p:spPr>
            <a:xfrm>
              <a:off x="4318017" y="4607950"/>
              <a:ext cx="85491" cy="138958"/>
            </a:xfrm>
            <a:custGeom>
              <a:avLst/>
              <a:gdLst>
                <a:gd name="connsiteX0" fmla="*/ 85492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2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F59B9F35-717B-49D6-A5B3-3E1CA3841626}"/>
                </a:ext>
              </a:extLst>
            </p:cNvPr>
            <p:cNvSpPr/>
            <p:nvPr/>
          </p:nvSpPr>
          <p:spPr>
            <a:xfrm>
              <a:off x="8424115" y="2800654"/>
              <a:ext cx="74909" cy="144527"/>
            </a:xfrm>
            <a:custGeom>
              <a:avLst/>
              <a:gdLst>
                <a:gd name="connsiteX0" fmla="*/ 74909 w 74909"/>
                <a:gd name="connsiteY0" fmla="*/ 0 h 144527"/>
                <a:gd name="connsiteX1" fmla="*/ 0 w 74909"/>
                <a:gd name="connsiteY1" fmla="*/ 144528 h 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44527">
                  <a:moveTo>
                    <a:pt x="74909" y="0"/>
                  </a:moveTo>
                  <a:lnTo>
                    <a:pt x="0" y="1445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600AFADD-A049-4804-9C77-9983941C3AD8}"/>
                </a:ext>
              </a:extLst>
            </p:cNvPr>
            <p:cNvSpPr/>
            <p:nvPr/>
          </p:nvSpPr>
          <p:spPr>
            <a:xfrm>
              <a:off x="3179058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10B0992E-C7EA-4D05-A56B-8BB464841F24}"/>
                </a:ext>
              </a:extLst>
            </p:cNvPr>
            <p:cNvSpPr/>
            <p:nvPr/>
          </p:nvSpPr>
          <p:spPr>
            <a:xfrm>
              <a:off x="1125870" y="552533"/>
              <a:ext cx="66833" cy="141464"/>
            </a:xfrm>
            <a:custGeom>
              <a:avLst/>
              <a:gdLst>
                <a:gd name="connsiteX0" fmla="*/ 66834 w 66833"/>
                <a:gd name="connsiteY0" fmla="*/ 0 h 141464"/>
                <a:gd name="connsiteX1" fmla="*/ 0 w 66833"/>
                <a:gd name="connsiteY1" fmla="*/ 141465 h 141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464">
                  <a:moveTo>
                    <a:pt x="66834" y="0"/>
                  </a:moveTo>
                  <a:lnTo>
                    <a:pt x="0" y="1414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C53101E0-9C7D-4599-B1F1-E959655C8859}"/>
                </a:ext>
              </a:extLst>
            </p:cNvPr>
            <p:cNvSpPr/>
            <p:nvPr/>
          </p:nvSpPr>
          <p:spPr>
            <a:xfrm>
              <a:off x="4547758" y="4824324"/>
              <a:ext cx="50960" cy="141743"/>
            </a:xfrm>
            <a:custGeom>
              <a:avLst/>
              <a:gdLst>
                <a:gd name="connsiteX0" fmla="*/ 50961 w 50960"/>
                <a:gd name="connsiteY0" fmla="*/ 0 h 141743"/>
                <a:gd name="connsiteX1" fmla="*/ 0 w 5096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41743">
                  <a:moveTo>
                    <a:pt x="50961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A160580B-8547-4EB4-8021-9D625325DB70}"/>
                </a:ext>
              </a:extLst>
            </p:cNvPr>
            <p:cNvSpPr/>
            <p:nvPr/>
          </p:nvSpPr>
          <p:spPr>
            <a:xfrm>
              <a:off x="3863547" y="5054344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866A5AF2-5D6B-4FA5-875B-866BE7EA4542}"/>
                </a:ext>
              </a:extLst>
            </p:cNvPr>
            <p:cNvSpPr/>
            <p:nvPr/>
          </p:nvSpPr>
          <p:spPr>
            <a:xfrm>
              <a:off x="7279866" y="3704302"/>
              <a:ext cx="77694" cy="138958"/>
            </a:xfrm>
            <a:custGeom>
              <a:avLst/>
              <a:gdLst>
                <a:gd name="connsiteX0" fmla="*/ 77695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5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6F0DBB13-4681-41FC-9D67-F39BFEF5B253}"/>
                </a:ext>
              </a:extLst>
            </p:cNvPr>
            <p:cNvSpPr/>
            <p:nvPr/>
          </p:nvSpPr>
          <p:spPr>
            <a:xfrm>
              <a:off x="3636312" y="998927"/>
              <a:ext cx="69340" cy="141743"/>
            </a:xfrm>
            <a:custGeom>
              <a:avLst/>
              <a:gdLst>
                <a:gd name="connsiteX0" fmla="*/ 69340 w 69340"/>
                <a:gd name="connsiteY0" fmla="*/ 0 h 141743"/>
                <a:gd name="connsiteX1" fmla="*/ 0 w 69340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41743">
                  <a:moveTo>
                    <a:pt x="69340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E41082C0-1C40-49DF-976D-1A99170D4215}"/>
                </a:ext>
              </a:extLst>
            </p:cNvPr>
            <p:cNvSpPr/>
            <p:nvPr/>
          </p:nvSpPr>
          <p:spPr>
            <a:xfrm>
              <a:off x="2951823" y="1897006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51FB3172-3308-4D3D-BADE-FEF86321B54A}"/>
                </a:ext>
              </a:extLst>
            </p:cNvPr>
            <p:cNvSpPr/>
            <p:nvPr/>
          </p:nvSpPr>
          <p:spPr>
            <a:xfrm>
              <a:off x="2494569" y="1905081"/>
              <a:ext cx="66833" cy="141743"/>
            </a:xfrm>
            <a:custGeom>
              <a:avLst/>
              <a:gdLst>
                <a:gd name="connsiteX0" fmla="*/ 66834 w 66833"/>
                <a:gd name="connsiteY0" fmla="*/ 0 h 141743"/>
                <a:gd name="connsiteX1" fmla="*/ 0 w 66833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141743">
                  <a:moveTo>
                    <a:pt x="66834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A9BA577B-FACC-4B99-9C1C-38D241D94349}"/>
                </a:ext>
              </a:extLst>
            </p:cNvPr>
            <p:cNvSpPr/>
            <p:nvPr/>
          </p:nvSpPr>
          <p:spPr>
            <a:xfrm>
              <a:off x="7969646" y="2800654"/>
              <a:ext cx="69618" cy="138958"/>
            </a:xfrm>
            <a:custGeom>
              <a:avLst/>
              <a:gdLst>
                <a:gd name="connsiteX0" fmla="*/ 69618 w 69618"/>
                <a:gd name="connsiteY0" fmla="*/ 0 h 138958"/>
                <a:gd name="connsiteX1" fmla="*/ 0 w 69618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8958">
                  <a:moveTo>
                    <a:pt x="69618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3ABA7140-2F90-4427-A80C-D132776FAD6E}"/>
                </a:ext>
              </a:extLst>
            </p:cNvPr>
            <p:cNvSpPr/>
            <p:nvPr/>
          </p:nvSpPr>
          <p:spPr>
            <a:xfrm>
              <a:off x="8651350" y="3239250"/>
              <a:ext cx="50960" cy="152325"/>
            </a:xfrm>
            <a:custGeom>
              <a:avLst/>
              <a:gdLst>
                <a:gd name="connsiteX0" fmla="*/ 50961 w 50960"/>
                <a:gd name="connsiteY0" fmla="*/ 0 h 152325"/>
                <a:gd name="connsiteX1" fmla="*/ 0 w 50960"/>
                <a:gd name="connsiteY1" fmla="*/ 152325 h 15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60" h="152325">
                  <a:moveTo>
                    <a:pt x="50961" y="0"/>
                  </a:moveTo>
                  <a:lnTo>
                    <a:pt x="0" y="1523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283B1B6-4441-4FF2-AE7E-5A7D96910E07}"/>
                </a:ext>
              </a:extLst>
            </p:cNvPr>
            <p:cNvSpPr/>
            <p:nvPr/>
          </p:nvSpPr>
          <p:spPr>
            <a:xfrm>
              <a:off x="1125870" y="776983"/>
              <a:ext cx="64327" cy="141743"/>
            </a:xfrm>
            <a:custGeom>
              <a:avLst/>
              <a:gdLst>
                <a:gd name="connsiteX0" fmla="*/ 64327 w 64327"/>
                <a:gd name="connsiteY0" fmla="*/ 0 h 141743"/>
                <a:gd name="connsiteX1" fmla="*/ 0 w 6432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41743">
                  <a:moveTo>
                    <a:pt x="6432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B754041-6D84-44B2-A448-DB5F4CEE6A31}"/>
                </a:ext>
              </a:extLst>
            </p:cNvPr>
            <p:cNvSpPr/>
            <p:nvPr/>
          </p:nvSpPr>
          <p:spPr>
            <a:xfrm>
              <a:off x="7742411" y="4150696"/>
              <a:ext cx="58758" cy="141743"/>
            </a:xfrm>
            <a:custGeom>
              <a:avLst/>
              <a:gdLst>
                <a:gd name="connsiteX0" fmla="*/ 58758 w 58758"/>
                <a:gd name="connsiteY0" fmla="*/ 0 h 141743"/>
                <a:gd name="connsiteX1" fmla="*/ 0 w 58758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141743">
                  <a:moveTo>
                    <a:pt x="58758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7610CED6-8F56-47A8-892B-7227274F28FF}"/>
                </a:ext>
              </a:extLst>
            </p:cNvPr>
            <p:cNvSpPr/>
            <p:nvPr/>
          </p:nvSpPr>
          <p:spPr>
            <a:xfrm>
              <a:off x="8426900" y="4150696"/>
              <a:ext cx="53467" cy="141743"/>
            </a:xfrm>
            <a:custGeom>
              <a:avLst/>
              <a:gdLst>
                <a:gd name="connsiteX0" fmla="*/ 53467 w 53467"/>
                <a:gd name="connsiteY0" fmla="*/ 0 h 141743"/>
                <a:gd name="connsiteX1" fmla="*/ 0 w 53467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141743">
                  <a:moveTo>
                    <a:pt x="53467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B9EC25A-16F3-45C0-A52A-9BD4B359595E}"/>
                </a:ext>
              </a:extLst>
            </p:cNvPr>
            <p:cNvSpPr/>
            <p:nvPr/>
          </p:nvSpPr>
          <p:spPr>
            <a:xfrm>
              <a:off x="8881369" y="3699011"/>
              <a:ext cx="72124" cy="141743"/>
            </a:xfrm>
            <a:custGeom>
              <a:avLst/>
              <a:gdLst>
                <a:gd name="connsiteX0" fmla="*/ 72125 w 72124"/>
                <a:gd name="connsiteY0" fmla="*/ 0 h 141743"/>
                <a:gd name="connsiteX1" fmla="*/ 0 w 72124"/>
                <a:gd name="connsiteY1" fmla="*/ 141743 h 141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41743">
                  <a:moveTo>
                    <a:pt x="72125" y="0"/>
                  </a:moveTo>
                  <a:lnTo>
                    <a:pt x="0" y="1417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AF211548-A4FE-4393-A5BD-7BDFBF4AFD67}"/>
                </a:ext>
              </a:extLst>
            </p:cNvPr>
            <p:cNvSpPr/>
            <p:nvPr/>
          </p:nvSpPr>
          <p:spPr>
            <a:xfrm>
              <a:off x="4090782" y="4827109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E46F8609-7EB6-4DB7-8F47-B954136E3BF9}"/>
                </a:ext>
              </a:extLst>
            </p:cNvPr>
            <p:cNvSpPr/>
            <p:nvPr/>
          </p:nvSpPr>
          <p:spPr>
            <a:xfrm>
              <a:off x="1353104" y="1226162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BFF3262C-59C3-4C9A-8250-11BB15B02EB5}"/>
                </a:ext>
              </a:extLst>
            </p:cNvPr>
            <p:cNvSpPr/>
            <p:nvPr/>
          </p:nvSpPr>
          <p:spPr>
            <a:xfrm>
              <a:off x="3636312" y="122616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6E29F866-9C53-40E3-B33F-6803BE99037C}"/>
                </a:ext>
              </a:extLst>
            </p:cNvPr>
            <p:cNvSpPr/>
            <p:nvPr/>
          </p:nvSpPr>
          <p:spPr>
            <a:xfrm>
              <a:off x="1128654" y="100421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9967D104-16F7-4C87-A9C8-9B504C317FC5}"/>
                </a:ext>
              </a:extLst>
            </p:cNvPr>
            <p:cNvSpPr/>
            <p:nvPr/>
          </p:nvSpPr>
          <p:spPr>
            <a:xfrm>
              <a:off x="3866053" y="1453397"/>
              <a:ext cx="72124" cy="138958"/>
            </a:xfrm>
            <a:custGeom>
              <a:avLst/>
              <a:gdLst>
                <a:gd name="connsiteX0" fmla="*/ 72125 w 72124"/>
                <a:gd name="connsiteY0" fmla="*/ 0 h 138958"/>
                <a:gd name="connsiteX1" fmla="*/ 0 w 72124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8958">
                  <a:moveTo>
                    <a:pt x="72125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9C34106B-7084-4BAE-8F9A-9FEBEE0AF3AC}"/>
                </a:ext>
              </a:extLst>
            </p:cNvPr>
            <p:cNvSpPr/>
            <p:nvPr/>
          </p:nvSpPr>
          <p:spPr>
            <a:xfrm>
              <a:off x="1350598" y="1458688"/>
              <a:ext cx="90782" cy="133667"/>
            </a:xfrm>
            <a:custGeom>
              <a:avLst/>
              <a:gdLst>
                <a:gd name="connsiteX0" fmla="*/ 90782 w 90782"/>
                <a:gd name="connsiteY0" fmla="*/ 0 h 133667"/>
                <a:gd name="connsiteX1" fmla="*/ 0 w 90782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33667">
                  <a:moveTo>
                    <a:pt x="90782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862DC45F-0837-46AA-B31A-93CC1E94946E}"/>
                </a:ext>
              </a:extLst>
            </p:cNvPr>
            <p:cNvSpPr/>
            <p:nvPr/>
          </p:nvSpPr>
          <p:spPr>
            <a:xfrm>
              <a:off x="3406293" y="1675340"/>
              <a:ext cx="61542" cy="138958"/>
            </a:xfrm>
            <a:custGeom>
              <a:avLst/>
              <a:gdLst>
                <a:gd name="connsiteX0" fmla="*/ 61543 w 61542"/>
                <a:gd name="connsiteY0" fmla="*/ 0 h 138958"/>
                <a:gd name="connsiteX1" fmla="*/ 0 w 61542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138958">
                  <a:moveTo>
                    <a:pt x="61543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686F8940-6EC9-422D-94BE-6FC9EDB23F74}"/>
                </a:ext>
              </a:extLst>
            </p:cNvPr>
            <p:cNvSpPr/>
            <p:nvPr/>
          </p:nvSpPr>
          <p:spPr>
            <a:xfrm>
              <a:off x="5232247" y="4607950"/>
              <a:ext cx="85491" cy="138958"/>
            </a:xfrm>
            <a:custGeom>
              <a:avLst/>
              <a:gdLst>
                <a:gd name="connsiteX0" fmla="*/ 85491 w 85491"/>
                <a:gd name="connsiteY0" fmla="*/ 0 h 138958"/>
                <a:gd name="connsiteX1" fmla="*/ 0 w 85491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8958">
                  <a:moveTo>
                    <a:pt x="85491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A3241843-0DC1-43C7-9886-D93BCDD5E498}"/>
                </a:ext>
              </a:extLst>
            </p:cNvPr>
            <p:cNvSpPr/>
            <p:nvPr/>
          </p:nvSpPr>
          <p:spPr>
            <a:xfrm>
              <a:off x="7512670" y="3027888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7C9525CD-A6EB-434C-8B4E-D688CDBD7F16}"/>
                </a:ext>
              </a:extLst>
            </p:cNvPr>
            <p:cNvSpPr/>
            <p:nvPr/>
          </p:nvSpPr>
          <p:spPr>
            <a:xfrm>
              <a:off x="7285435" y="3255123"/>
              <a:ext cx="80200" cy="138958"/>
            </a:xfrm>
            <a:custGeom>
              <a:avLst/>
              <a:gdLst>
                <a:gd name="connsiteX0" fmla="*/ 80201 w 80200"/>
                <a:gd name="connsiteY0" fmla="*/ 0 h 138958"/>
                <a:gd name="connsiteX1" fmla="*/ 0 w 80200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8958">
                  <a:moveTo>
                    <a:pt x="80201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352FFEA0-52B3-4197-BFAF-C9673162A860}"/>
                </a:ext>
              </a:extLst>
            </p:cNvPr>
            <p:cNvSpPr/>
            <p:nvPr/>
          </p:nvSpPr>
          <p:spPr>
            <a:xfrm>
              <a:off x="8648844" y="4155987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EC2EFC2A-8238-464B-99B5-837CC1664EB8}"/>
                </a:ext>
              </a:extLst>
            </p:cNvPr>
            <p:cNvSpPr/>
            <p:nvPr/>
          </p:nvSpPr>
          <p:spPr>
            <a:xfrm>
              <a:off x="8881369" y="3477067"/>
              <a:ext cx="69340" cy="138958"/>
            </a:xfrm>
            <a:custGeom>
              <a:avLst/>
              <a:gdLst>
                <a:gd name="connsiteX0" fmla="*/ 69340 w 69340"/>
                <a:gd name="connsiteY0" fmla="*/ 0 h 138958"/>
                <a:gd name="connsiteX1" fmla="*/ 0 w 69340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340" h="138958">
                  <a:moveTo>
                    <a:pt x="69340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9839EC9D-E281-4E97-8F30-B6714954CCA4}"/>
                </a:ext>
              </a:extLst>
            </p:cNvPr>
            <p:cNvSpPr/>
            <p:nvPr/>
          </p:nvSpPr>
          <p:spPr>
            <a:xfrm>
              <a:off x="7279866" y="3482358"/>
              <a:ext cx="77694" cy="136452"/>
            </a:xfrm>
            <a:custGeom>
              <a:avLst/>
              <a:gdLst>
                <a:gd name="connsiteX0" fmla="*/ 77695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68BB7770-84AD-46CC-91C0-96C207E0036B}"/>
                </a:ext>
              </a:extLst>
            </p:cNvPr>
            <p:cNvSpPr/>
            <p:nvPr/>
          </p:nvSpPr>
          <p:spPr>
            <a:xfrm>
              <a:off x="3636312" y="5506028"/>
              <a:ext cx="77415" cy="136452"/>
            </a:xfrm>
            <a:custGeom>
              <a:avLst/>
              <a:gdLst>
                <a:gd name="connsiteX0" fmla="*/ 77416 w 77415"/>
                <a:gd name="connsiteY0" fmla="*/ 0 h 136452"/>
                <a:gd name="connsiteX1" fmla="*/ 0 w 7741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452">
                  <a:moveTo>
                    <a:pt x="77416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11A60CDB-D814-4C5F-BFD6-3415B2127AA9}"/>
                </a:ext>
              </a:extLst>
            </p:cNvPr>
            <p:cNvSpPr/>
            <p:nvPr/>
          </p:nvSpPr>
          <p:spPr>
            <a:xfrm>
              <a:off x="1125870" y="330589"/>
              <a:ext cx="77694" cy="138958"/>
            </a:xfrm>
            <a:custGeom>
              <a:avLst/>
              <a:gdLst>
                <a:gd name="connsiteX0" fmla="*/ 77694 w 77694"/>
                <a:gd name="connsiteY0" fmla="*/ 0 h 138958"/>
                <a:gd name="connsiteX1" fmla="*/ 0 w 77694"/>
                <a:gd name="connsiteY1" fmla="*/ 138959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8958">
                  <a:moveTo>
                    <a:pt x="77694" y="0"/>
                  </a:moveTo>
                  <a:lnTo>
                    <a:pt x="0" y="13895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DCDCD74B-BC92-44E1-B0A2-283DB66AFCC5}"/>
                </a:ext>
              </a:extLst>
            </p:cNvPr>
            <p:cNvSpPr/>
            <p:nvPr/>
          </p:nvSpPr>
          <p:spPr>
            <a:xfrm>
              <a:off x="3636312" y="1450612"/>
              <a:ext cx="64049" cy="138958"/>
            </a:xfrm>
            <a:custGeom>
              <a:avLst/>
              <a:gdLst>
                <a:gd name="connsiteX0" fmla="*/ 64049 w 64049"/>
                <a:gd name="connsiteY0" fmla="*/ 0 h 138958"/>
                <a:gd name="connsiteX1" fmla="*/ 0 w 64049"/>
                <a:gd name="connsiteY1" fmla="*/ 138958 h 13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8958">
                  <a:moveTo>
                    <a:pt x="64049" y="0"/>
                  </a:moveTo>
                  <a:lnTo>
                    <a:pt x="0" y="1389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1283D93A-CF52-4326-87CF-2859E6143F81}"/>
                </a:ext>
              </a:extLst>
            </p:cNvPr>
            <p:cNvSpPr/>
            <p:nvPr/>
          </p:nvSpPr>
          <p:spPr>
            <a:xfrm>
              <a:off x="7742411" y="2808729"/>
              <a:ext cx="69618" cy="136452"/>
            </a:xfrm>
            <a:custGeom>
              <a:avLst/>
              <a:gdLst>
                <a:gd name="connsiteX0" fmla="*/ 69619 w 69618"/>
                <a:gd name="connsiteY0" fmla="*/ 0 h 136452"/>
                <a:gd name="connsiteX1" fmla="*/ 0 w 69618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452">
                  <a:moveTo>
                    <a:pt x="6961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E636796-60CE-4FE8-B0D9-33D9C7658CDB}"/>
                </a:ext>
              </a:extLst>
            </p:cNvPr>
            <p:cNvSpPr/>
            <p:nvPr/>
          </p:nvSpPr>
          <p:spPr>
            <a:xfrm>
              <a:off x="3866053" y="1231453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FA333119-BE56-49F4-9288-4CEEB2B2612E}"/>
                </a:ext>
              </a:extLst>
            </p:cNvPr>
            <p:cNvSpPr/>
            <p:nvPr/>
          </p:nvSpPr>
          <p:spPr>
            <a:xfrm>
              <a:off x="5002227" y="4610456"/>
              <a:ext cx="77694" cy="136452"/>
            </a:xfrm>
            <a:custGeom>
              <a:avLst/>
              <a:gdLst>
                <a:gd name="connsiteX0" fmla="*/ 77694 w 77694"/>
                <a:gd name="connsiteY0" fmla="*/ 0 h 136452"/>
                <a:gd name="connsiteX1" fmla="*/ 0 w 77694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6452">
                  <a:moveTo>
                    <a:pt x="77694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7E7DEA70-9219-4880-8C45-C1737F39C284}"/>
                </a:ext>
              </a:extLst>
            </p:cNvPr>
            <p:cNvSpPr/>
            <p:nvPr/>
          </p:nvSpPr>
          <p:spPr>
            <a:xfrm>
              <a:off x="4774992" y="4605165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80F42661-ECD0-4039-AA3C-C1BEAA27C02F}"/>
                </a:ext>
              </a:extLst>
            </p:cNvPr>
            <p:cNvSpPr/>
            <p:nvPr/>
          </p:nvSpPr>
          <p:spPr>
            <a:xfrm>
              <a:off x="8196880" y="4377930"/>
              <a:ext cx="74909" cy="136452"/>
            </a:xfrm>
            <a:custGeom>
              <a:avLst/>
              <a:gdLst>
                <a:gd name="connsiteX0" fmla="*/ 74909 w 74909"/>
                <a:gd name="connsiteY0" fmla="*/ 0 h 136452"/>
                <a:gd name="connsiteX1" fmla="*/ 0 w 74909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452">
                  <a:moveTo>
                    <a:pt x="74909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B9950BCC-D820-41F3-B13F-BC5EDE777763}"/>
                </a:ext>
              </a:extLst>
            </p:cNvPr>
            <p:cNvSpPr/>
            <p:nvPr/>
          </p:nvSpPr>
          <p:spPr>
            <a:xfrm>
              <a:off x="8424115" y="4386006"/>
              <a:ext cx="82985" cy="136452"/>
            </a:xfrm>
            <a:custGeom>
              <a:avLst/>
              <a:gdLst>
                <a:gd name="connsiteX0" fmla="*/ 82985 w 82985"/>
                <a:gd name="connsiteY0" fmla="*/ 0 h 136452"/>
                <a:gd name="connsiteX1" fmla="*/ 0 w 82985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6452">
                  <a:moveTo>
                    <a:pt x="82985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C75B9C9C-5224-4C82-A6AA-7733FBD9D338}"/>
                </a:ext>
              </a:extLst>
            </p:cNvPr>
            <p:cNvSpPr/>
            <p:nvPr/>
          </p:nvSpPr>
          <p:spPr>
            <a:xfrm>
              <a:off x="1812865" y="1680631"/>
              <a:ext cx="69618" cy="136173"/>
            </a:xfrm>
            <a:custGeom>
              <a:avLst/>
              <a:gdLst>
                <a:gd name="connsiteX0" fmla="*/ 69618 w 69618"/>
                <a:gd name="connsiteY0" fmla="*/ 0 h 136173"/>
                <a:gd name="connsiteX1" fmla="*/ 0 w 69618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136173">
                  <a:moveTo>
                    <a:pt x="69618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F3D0F11F-C685-4F20-B3D0-F0D15558262E}"/>
                </a:ext>
              </a:extLst>
            </p:cNvPr>
            <p:cNvSpPr/>
            <p:nvPr/>
          </p:nvSpPr>
          <p:spPr>
            <a:xfrm>
              <a:off x="3866053" y="1680631"/>
              <a:ext cx="74909" cy="136173"/>
            </a:xfrm>
            <a:custGeom>
              <a:avLst/>
              <a:gdLst>
                <a:gd name="connsiteX0" fmla="*/ 74909 w 74909"/>
                <a:gd name="connsiteY0" fmla="*/ 0 h 136173"/>
                <a:gd name="connsiteX1" fmla="*/ 0 w 7490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6173">
                  <a:moveTo>
                    <a:pt x="7490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5DE502BD-4CE7-4F73-A1C8-4F66529C8D27}"/>
                </a:ext>
              </a:extLst>
            </p:cNvPr>
            <p:cNvSpPr/>
            <p:nvPr/>
          </p:nvSpPr>
          <p:spPr>
            <a:xfrm>
              <a:off x="5232247" y="4829894"/>
              <a:ext cx="64049" cy="136173"/>
            </a:xfrm>
            <a:custGeom>
              <a:avLst/>
              <a:gdLst>
                <a:gd name="connsiteX0" fmla="*/ 64049 w 64049"/>
                <a:gd name="connsiteY0" fmla="*/ 0 h 136173"/>
                <a:gd name="connsiteX1" fmla="*/ 0 w 64049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6173">
                  <a:moveTo>
                    <a:pt x="64049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0077DFCB-CF74-4A57-B4C0-10340C466713}"/>
                </a:ext>
              </a:extLst>
            </p:cNvPr>
            <p:cNvSpPr/>
            <p:nvPr/>
          </p:nvSpPr>
          <p:spPr>
            <a:xfrm>
              <a:off x="2721804" y="1905081"/>
              <a:ext cx="64327" cy="136452"/>
            </a:xfrm>
            <a:custGeom>
              <a:avLst/>
              <a:gdLst>
                <a:gd name="connsiteX0" fmla="*/ 64327 w 64327"/>
                <a:gd name="connsiteY0" fmla="*/ 0 h 136452"/>
                <a:gd name="connsiteX1" fmla="*/ 0 w 64327"/>
                <a:gd name="connsiteY1" fmla="*/ 136452 h 136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136452">
                  <a:moveTo>
                    <a:pt x="64327" y="0"/>
                  </a:moveTo>
                  <a:lnTo>
                    <a:pt x="0" y="1364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3642B362-3399-43C3-AAFA-27FD8AFCF3D6}"/>
                </a:ext>
              </a:extLst>
            </p:cNvPr>
            <p:cNvSpPr/>
            <p:nvPr/>
          </p:nvSpPr>
          <p:spPr>
            <a:xfrm>
              <a:off x="3636312" y="1902575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5A7499F0-1171-4998-831F-EF7D10EA9929}"/>
                </a:ext>
              </a:extLst>
            </p:cNvPr>
            <p:cNvSpPr/>
            <p:nvPr/>
          </p:nvSpPr>
          <p:spPr>
            <a:xfrm>
              <a:off x="7279866" y="3936828"/>
              <a:ext cx="88276" cy="131161"/>
            </a:xfrm>
            <a:custGeom>
              <a:avLst/>
              <a:gdLst>
                <a:gd name="connsiteX0" fmla="*/ 88276 w 88276"/>
                <a:gd name="connsiteY0" fmla="*/ 0 h 131161"/>
                <a:gd name="connsiteX1" fmla="*/ 0 w 88276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1161">
                  <a:moveTo>
                    <a:pt x="8827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B78C71D-8E66-44B2-9760-379550400AF8}"/>
                </a:ext>
              </a:extLst>
            </p:cNvPr>
            <p:cNvSpPr/>
            <p:nvPr/>
          </p:nvSpPr>
          <p:spPr>
            <a:xfrm>
              <a:off x="4087997" y="1913157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6B22FBB-0B2E-4584-85EE-54322A8F6EE6}"/>
                </a:ext>
              </a:extLst>
            </p:cNvPr>
            <p:cNvSpPr/>
            <p:nvPr/>
          </p:nvSpPr>
          <p:spPr>
            <a:xfrm>
              <a:off x="7512670" y="4153480"/>
              <a:ext cx="77415" cy="136173"/>
            </a:xfrm>
            <a:custGeom>
              <a:avLst/>
              <a:gdLst>
                <a:gd name="connsiteX0" fmla="*/ 77416 w 77415"/>
                <a:gd name="connsiteY0" fmla="*/ 0 h 136173"/>
                <a:gd name="connsiteX1" fmla="*/ 0 w 77415"/>
                <a:gd name="connsiteY1" fmla="*/ 136174 h 13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36173">
                  <a:moveTo>
                    <a:pt x="77416" y="0"/>
                  </a:moveTo>
                  <a:lnTo>
                    <a:pt x="0" y="1361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3B84D734-5F0D-4B18-89F8-ADAC85A7D5F6}"/>
                </a:ext>
              </a:extLst>
            </p:cNvPr>
            <p:cNvSpPr/>
            <p:nvPr/>
          </p:nvSpPr>
          <p:spPr>
            <a:xfrm>
              <a:off x="3636312" y="1680631"/>
              <a:ext cx="64049" cy="133667"/>
            </a:xfrm>
            <a:custGeom>
              <a:avLst/>
              <a:gdLst>
                <a:gd name="connsiteX0" fmla="*/ 64049 w 64049"/>
                <a:gd name="connsiteY0" fmla="*/ 0 h 133667"/>
                <a:gd name="connsiteX1" fmla="*/ 0 w 6404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49" h="133667">
                  <a:moveTo>
                    <a:pt x="6404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E13EA13E-6E27-4011-9B76-05DDB2499ED9}"/>
                </a:ext>
              </a:extLst>
            </p:cNvPr>
            <p:cNvSpPr/>
            <p:nvPr/>
          </p:nvSpPr>
          <p:spPr>
            <a:xfrm>
              <a:off x="4087997" y="1239529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8076 w 96351"/>
                <a:gd name="connsiteY1" fmla="*/ 120301 h 128376"/>
                <a:gd name="connsiteX2" fmla="*/ 0 w 96351"/>
                <a:gd name="connsiteY2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8076" y="120301"/>
                  </a:lnTo>
                  <a:lnTo>
                    <a:pt x="0" y="128377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B74B6BC-1A48-4380-A346-CE3DB873FB20}"/>
                </a:ext>
              </a:extLst>
            </p:cNvPr>
            <p:cNvSpPr/>
            <p:nvPr/>
          </p:nvSpPr>
          <p:spPr>
            <a:xfrm>
              <a:off x="3409078" y="555039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69BF39BB-7F0A-4C53-8144-50F92C677E70}"/>
                </a:ext>
              </a:extLst>
            </p:cNvPr>
            <p:cNvSpPr/>
            <p:nvPr/>
          </p:nvSpPr>
          <p:spPr>
            <a:xfrm>
              <a:off x="5689222" y="5059635"/>
              <a:ext cx="80200" cy="133667"/>
            </a:xfrm>
            <a:custGeom>
              <a:avLst/>
              <a:gdLst>
                <a:gd name="connsiteX0" fmla="*/ 80201 w 80200"/>
                <a:gd name="connsiteY0" fmla="*/ 0 h 133667"/>
                <a:gd name="connsiteX1" fmla="*/ 0 w 80200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1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343B9C71-D76B-4DFB-AD24-8E1A8F5D44F3}"/>
                </a:ext>
              </a:extLst>
            </p:cNvPr>
            <p:cNvSpPr/>
            <p:nvPr/>
          </p:nvSpPr>
          <p:spPr>
            <a:xfrm>
              <a:off x="4087997" y="146147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AD6DEDF1-58C9-41C2-AE20-EB51FB24326B}"/>
                </a:ext>
              </a:extLst>
            </p:cNvPr>
            <p:cNvSpPr/>
            <p:nvPr/>
          </p:nvSpPr>
          <p:spPr>
            <a:xfrm>
              <a:off x="8881369" y="3257908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7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553AEDF4-B92E-41DF-956B-8D369F8A155E}"/>
                </a:ext>
              </a:extLst>
            </p:cNvPr>
            <p:cNvSpPr/>
            <p:nvPr/>
          </p:nvSpPr>
          <p:spPr>
            <a:xfrm>
              <a:off x="4087997" y="1685922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4AA2C505-69B4-4DCE-8862-1BD120AC7718}"/>
                </a:ext>
              </a:extLst>
            </p:cNvPr>
            <p:cNvSpPr/>
            <p:nvPr/>
          </p:nvSpPr>
          <p:spPr>
            <a:xfrm>
              <a:off x="8654135" y="2811514"/>
              <a:ext cx="82706" cy="133667"/>
            </a:xfrm>
            <a:custGeom>
              <a:avLst/>
              <a:gdLst>
                <a:gd name="connsiteX0" fmla="*/ 82706 w 82706"/>
                <a:gd name="connsiteY0" fmla="*/ 0 h 133667"/>
                <a:gd name="connsiteX1" fmla="*/ 0 w 82706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3667">
                  <a:moveTo>
                    <a:pt x="82706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6E2F60F9-5944-4556-9FED-8750F1BBAD0A}"/>
                </a:ext>
              </a:extLst>
            </p:cNvPr>
            <p:cNvSpPr/>
            <p:nvPr/>
          </p:nvSpPr>
          <p:spPr>
            <a:xfrm>
              <a:off x="3863547" y="2143177"/>
              <a:ext cx="96073" cy="128098"/>
            </a:xfrm>
            <a:custGeom>
              <a:avLst/>
              <a:gdLst>
                <a:gd name="connsiteX0" fmla="*/ 96074 w 96073"/>
                <a:gd name="connsiteY0" fmla="*/ 0 h 128098"/>
                <a:gd name="connsiteX1" fmla="*/ 0 w 96073"/>
                <a:gd name="connsiteY1" fmla="*/ 128098 h 128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8098">
                  <a:moveTo>
                    <a:pt x="96074" y="0"/>
                  </a:moveTo>
                  <a:lnTo>
                    <a:pt x="0" y="1280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2BE340F2-6955-4D2C-B287-4E57015C6056}"/>
                </a:ext>
              </a:extLst>
            </p:cNvPr>
            <p:cNvSpPr/>
            <p:nvPr/>
          </p:nvSpPr>
          <p:spPr>
            <a:xfrm>
              <a:off x="2267334" y="1905081"/>
              <a:ext cx="74909" cy="133667"/>
            </a:xfrm>
            <a:custGeom>
              <a:avLst/>
              <a:gdLst>
                <a:gd name="connsiteX0" fmla="*/ 74909 w 74909"/>
                <a:gd name="connsiteY0" fmla="*/ 0 h 133667"/>
                <a:gd name="connsiteX1" fmla="*/ 0 w 74909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133667">
                  <a:moveTo>
                    <a:pt x="74909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291A0412-5A10-4B0D-8EAE-A9E391BECF17}"/>
                </a:ext>
              </a:extLst>
            </p:cNvPr>
            <p:cNvSpPr/>
            <p:nvPr/>
          </p:nvSpPr>
          <p:spPr>
            <a:xfrm>
              <a:off x="3636312" y="5284363"/>
              <a:ext cx="80200" cy="133667"/>
            </a:xfrm>
            <a:custGeom>
              <a:avLst/>
              <a:gdLst>
                <a:gd name="connsiteX0" fmla="*/ 80200 w 80200"/>
                <a:gd name="connsiteY0" fmla="*/ 0 h 133667"/>
                <a:gd name="connsiteX1" fmla="*/ 0 w 80200"/>
                <a:gd name="connsiteY1" fmla="*/ 133668 h 13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3667">
                  <a:moveTo>
                    <a:pt x="80200" y="0"/>
                  </a:moveTo>
                  <a:lnTo>
                    <a:pt x="0" y="13366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FA9A0AE0-E42A-4B31-ADBA-B8F4CF91B3E0}"/>
                </a:ext>
              </a:extLst>
            </p:cNvPr>
            <p:cNvSpPr/>
            <p:nvPr/>
          </p:nvSpPr>
          <p:spPr>
            <a:xfrm>
              <a:off x="6830966" y="445813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8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2F376941-63BD-4730-A7BD-03C7C8065FFB}"/>
                </a:ext>
              </a:extLst>
            </p:cNvPr>
            <p:cNvSpPr/>
            <p:nvPr/>
          </p:nvSpPr>
          <p:spPr>
            <a:xfrm>
              <a:off x="8429406" y="200394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4854777F-7963-4DAB-91D0-092E33173BDD}"/>
                </a:ext>
              </a:extLst>
            </p:cNvPr>
            <p:cNvSpPr/>
            <p:nvPr/>
          </p:nvSpPr>
          <p:spPr>
            <a:xfrm>
              <a:off x="7745196" y="2003940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50E0961B-6424-4FBC-A08B-31CD06E98CD5}"/>
                </a:ext>
              </a:extLst>
            </p:cNvPr>
            <p:cNvSpPr/>
            <p:nvPr/>
          </p:nvSpPr>
          <p:spPr>
            <a:xfrm>
              <a:off x="4777777" y="3575925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2D42BAA8-768C-4C79-B428-938C87194D63}"/>
                </a:ext>
              </a:extLst>
            </p:cNvPr>
            <p:cNvSpPr/>
            <p:nvPr/>
          </p:nvSpPr>
          <p:spPr>
            <a:xfrm>
              <a:off x="3179058" y="338665"/>
              <a:ext cx="88276" cy="130882"/>
            </a:xfrm>
            <a:custGeom>
              <a:avLst/>
              <a:gdLst>
                <a:gd name="connsiteX0" fmla="*/ 88276 w 88276"/>
                <a:gd name="connsiteY0" fmla="*/ 0 h 130882"/>
                <a:gd name="connsiteX1" fmla="*/ 0 w 8827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30882">
                  <a:moveTo>
                    <a:pt x="88276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90760257-41EC-4002-AABD-286C4AFA5AB3}"/>
                </a:ext>
              </a:extLst>
            </p:cNvPr>
            <p:cNvSpPr/>
            <p:nvPr/>
          </p:nvSpPr>
          <p:spPr>
            <a:xfrm>
              <a:off x="8199665" y="2001433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645BC359-4DFE-4362-ABE6-897333377DAF}"/>
                </a:ext>
              </a:extLst>
            </p:cNvPr>
            <p:cNvSpPr/>
            <p:nvPr/>
          </p:nvSpPr>
          <p:spPr>
            <a:xfrm>
              <a:off x="6600946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97A49F8A-3EB4-4E6D-9AA8-45F67C008DF3}"/>
                </a:ext>
              </a:extLst>
            </p:cNvPr>
            <p:cNvSpPr/>
            <p:nvPr/>
          </p:nvSpPr>
          <p:spPr>
            <a:xfrm>
              <a:off x="5916457" y="4019813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36EEC1F3-2FBD-4E18-BC41-554A6A1471F5}"/>
                </a:ext>
              </a:extLst>
            </p:cNvPr>
            <p:cNvSpPr/>
            <p:nvPr/>
          </p:nvSpPr>
          <p:spPr>
            <a:xfrm>
              <a:off x="6146477" y="4452840"/>
              <a:ext cx="128376" cy="69618"/>
            </a:xfrm>
            <a:custGeom>
              <a:avLst/>
              <a:gdLst>
                <a:gd name="connsiteX0" fmla="*/ 128377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7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A47BF43E-3EF2-4431-B69D-0A958A433CFA}"/>
                </a:ext>
              </a:extLst>
            </p:cNvPr>
            <p:cNvSpPr/>
            <p:nvPr/>
          </p:nvSpPr>
          <p:spPr>
            <a:xfrm>
              <a:off x="2954608" y="4479573"/>
              <a:ext cx="128098" cy="42884"/>
            </a:xfrm>
            <a:custGeom>
              <a:avLst/>
              <a:gdLst>
                <a:gd name="connsiteX0" fmla="*/ 128098 w 128098"/>
                <a:gd name="connsiteY0" fmla="*/ 0 h 42884"/>
                <a:gd name="connsiteX1" fmla="*/ 0 w 12809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2884">
                  <a:moveTo>
                    <a:pt x="128098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F29AD0AB-65F1-40E1-9253-A2148226DC0B}"/>
                </a:ext>
              </a:extLst>
            </p:cNvPr>
            <p:cNvSpPr/>
            <p:nvPr/>
          </p:nvSpPr>
          <p:spPr>
            <a:xfrm>
              <a:off x="9568365" y="4482358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C54562B4-A164-4A9B-A507-DBE271EAB377}"/>
                </a:ext>
              </a:extLst>
            </p:cNvPr>
            <p:cNvSpPr/>
            <p:nvPr/>
          </p:nvSpPr>
          <p:spPr>
            <a:xfrm>
              <a:off x="8881369" y="3035964"/>
              <a:ext cx="85491" cy="130882"/>
            </a:xfrm>
            <a:custGeom>
              <a:avLst/>
              <a:gdLst>
                <a:gd name="connsiteX0" fmla="*/ 85492 w 85491"/>
                <a:gd name="connsiteY0" fmla="*/ 0 h 130882"/>
                <a:gd name="connsiteX1" fmla="*/ 0 w 85491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30882">
                  <a:moveTo>
                    <a:pt x="85492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03E4EAFC-B4F5-4D50-8A02-477D43A56BDB}"/>
                </a:ext>
              </a:extLst>
            </p:cNvPr>
            <p:cNvSpPr/>
            <p:nvPr/>
          </p:nvSpPr>
          <p:spPr>
            <a:xfrm>
              <a:off x="5232247" y="881133"/>
              <a:ext cx="128376" cy="37593"/>
            </a:xfrm>
            <a:custGeom>
              <a:avLst/>
              <a:gdLst>
                <a:gd name="connsiteX0" fmla="*/ 128376 w 128376"/>
                <a:gd name="connsiteY0" fmla="*/ 0 h 37593"/>
                <a:gd name="connsiteX1" fmla="*/ 0 w 128376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593">
                  <a:moveTo>
                    <a:pt x="128376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2A0C8240-3B1B-42B5-8FC2-36B73E4937DC}"/>
                </a:ext>
              </a:extLst>
            </p:cNvPr>
            <p:cNvSpPr/>
            <p:nvPr/>
          </p:nvSpPr>
          <p:spPr>
            <a:xfrm>
              <a:off x="7742411" y="4383221"/>
              <a:ext cx="82985" cy="131161"/>
            </a:xfrm>
            <a:custGeom>
              <a:avLst/>
              <a:gdLst>
                <a:gd name="connsiteX0" fmla="*/ 82986 w 82985"/>
                <a:gd name="connsiteY0" fmla="*/ 0 h 131161"/>
                <a:gd name="connsiteX1" fmla="*/ 0 w 82985"/>
                <a:gd name="connsiteY1" fmla="*/ 131161 h 13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1161">
                  <a:moveTo>
                    <a:pt x="82986" y="0"/>
                  </a:moveTo>
                  <a:lnTo>
                    <a:pt x="0" y="1311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375A9950-D12C-4B0C-BC42-8CC4B9AD4FBC}"/>
                </a:ext>
              </a:extLst>
            </p:cNvPr>
            <p:cNvSpPr/>
            <p:nvPr/>
          </p:nvSpPr>
          <p:spPr>
            <a:xfrm>
              <a:off x="7969646" y="4386006"/>
              <a:ext cx="72124" cy="130882"/>
            </a:xfrm>
            <a:custGeom>
              <a:avLst/>
              <a:gdLst>
                <a:gd name="connsiteX0" fmla="*/ 72125 w 72124"/>
                <a:gd name="connsiteY0" fmla="*/ 0 h 130882"/>
                <a:gd name="connsiteX1" fmla="*/ 0 w 7212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130882">
                  <a:moveTo>
                    <a:pt x="7212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D22614C8-68A2-421E-84B8-902302D21518}"/>
                </a:ext>
              </a:extLst>
            </p:cNvPr>
            <p:cNvSpPr/>
            <p:nvPr/>
          </p:nvSpPr>
          <p:spPr>
            <a:xfrm>
              <a:off x="3633528" y="2137607"/>
              <a:ext cx="90782" cy="128376"/>
            </a:xfrm>
            <a:custGeom>
              <a:avLst/>
              <a:gdLst>
                <a:gd name="connsiteX0" fmla="*/ 90783 w 90782"/>
                <a:gd name="connsiteY0" fmla="*/ 0 h 128376"/>
                <a:gd name="connsiteX1" fmla="*/ 0 w 90782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28376">
                  <a:moveTo>
                    <a:pt x="90783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E9E33535-2223-4DE9-A4E1-5D7904B3CDDE}"/>
                </a:ext>
              </a:extLst>
            </p:cNvPr>
            <p:cNvSpPr/>
            <p:nvPr/>
          </p:nvSpPr>
          <p:spPr>
            <a:xfrm>
              <a:off x="8883876" y="2223377"/>
              <a:ext cx="128376" cy="47897"/>
            </a:xfrm>
            <a:custGeom>
              <a:avLst/>
              <a:gdLst>
                <a:gd name="connsiteX0" fmla="*/ 128377 w 128376"/>
                <a:gd name="connsiteY0" fmla="*/ 0 h 47897"/>
                <a:gd name="connsiteX1" fmla="*/ 0 w 128376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7897">
                  <a:moveTo>
                    <a:pt x="128377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45CD14B3-55F8-4BB5-B7C4-9229479E3E7F}"/>
                </a:ext>
              </a:extLst>
            </p:cNvPr>
            <p:cNvSpPr/>
            <p:nvPr/>
          </p:nvSpPr>
          <p:spPr>
            <a:xfrm>
              <a:off x="5916457" y="154417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2526DDF8-1753-4CA8-9176-411FE18EBDFF}"/>
                </a:ext>
              </a:extLst>
            </p:cNvPr>
            <p:cNvSpPr/>
            <p:nvPr/>
          </p:nvSpPr>
          <p:spPr>
            <a:xfrm>
              <a:off x="4547758" y="4394082"/>
              <a:ext cx="96351" cy="128376"/>
            </a:xfrm>
            <a:custGeom>
              <a:avLst/>
              <a:gdLst>
                <a:gd name="connsiteX0" fmla="*/ 96352 w 96351"/>
                <a:gd name="connsiteY0" fmla="*/ 0 h 128376"/>
                <a:gd name="connsiteX1" fmla="*/ 0 w 96351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8376">
                  <a:moveTo>
                    <a:pt x="96352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2A832D97-0601-4B43-A61F-717387DCC513}"/>
                </a:ext>
              </a:extLst>
            </p:cNvPr>
            <p:cNvSpPr/>
            <p:nvPr/>
          </p:nvSpPr>
          <p:spPr>
            <a:xfrm>
              <a:off x="3866053" y="1012294"/>
              <a:ext cx="80200" cy="130882"/>
            </a:xfrm>
            <a:custGeom>
              <a:avLst/>
              <a:gdLst>
                <a:gd name="connsiteX0" fmla="*/ 80200 w 80200"/>
                <a:gd name="connsiteY0" fmla="*/ 0 h 130882"/>
                <a:gd name="connsiteX1" fmla="*/ 0 w 80200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30882">
                  <a:moveTo>
                    <a:pt x="80200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704DCD1B-E5D9-433F-BC29-D3B49446F8D2}"/>
                </a:ext>
              </a:extLst>
            </p:cNvPr>
            <p:cNvSpPr/>
            <p:nvPr/>
          </p:nvSpPr>
          <p:spPr>
            <a:xfrm>
              <a:off x="3863547" y="3110874"/>
              <a:ext cx="128098" cy="55973"/>
            </a:xfrm>
            <a:custGeom>
              <a:avLst/>
              <a:gdLst>
                <a:gd name="connsiteX0" fmla="*/ 128098 w 128098"/>
                <a:gd name="connsiteY0" fmla="*/ 0 h 55973"/>
                <a:gd name="connsiteX1" fmla="*/ 0 w 128098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5973">
                  <a:moveTo>
                    <a:pt x="128098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F7692E9C-6A9A-4E24-A6E2-AB60F71DFCB8}"/>
                </a:ext>
              </a:extLst>
            </p:cNvPr>
            <p:cNvSpPr/>
            <p:nvPr/>
          </p:nvSpPr>
          <p:spPr>
            <a:xfrm>
              <a:off x="2040100" y="2415803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F5F176D0-A8D2-479E-8B81-7C9DF0F7D17E}"/>
                </a:ext>
              </a:extLst>
            </p:cNvPr>
            <p:cNvSpPr/>
            <p:nvPr/>
          </p:nvSpPr>
          <p:spPr>
            <a:xfrm>
              <a:off x="1585630" y="2196644"/>
              <a:ext cx="123085" cy="74631"/>
            </a:xfrm>
            <a:custGeom>
              <a:avLst/>
              <a:gdLst>
                <a:gd name="connsiteX0" fmla="*/ 123085 w 123085"/>
                <a:gd name="connsiteY0" fmla="*/ 0 h 74631"/>
                <a:gd name="connsiteX1" fmla="*/ 0 w 123085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631">
                  <a:moveTo>
                    <a:pt x="123085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DB477C0D-F3A5-465D-BDA9-07F0ABD0B69F}"/>
                </a:ext>
              </a:extLst>
            </p:cNvPr>
            <p:cNvSpPr/>
            <p:nvPr/>
          </p:nvSpPr>
          <p:spPr>
            <a:xfrm>
              <a:off x="8199665" y="2191074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0AD60733-1DCE-4CCE-B4DC-3A6134E71543}"/>
                </a:ext>
              </a:extLst>
            </p:cNvPr>
            <p:cNvSpPr/>
            <p:nvPr/>
          </p:nvSpPr>
          <p:spPr>
            <a:xfrm>
              <a:off x="637092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AE422DCD-5647-421A-B442-160C15611240}"/>
                </a:ext>
              </a:extLst>
            </p:cNvPr>
            <p:cNvSpPr/>
            <p:nvPr/>
          </p:nvSpPr>
          <p:spPr>
            <a:xfrm>
              <a:off x="5232247" y="3784502"/>
              <a:ext cx="128376" cy="58758"/>
            </a:xfrm>
            <a:custGeom>
              <a:avLst/>
              <a:gdLst>
                <a:gd name="connsiteX0" fmla="*/ 128376 w 128376"/>
                <a:gd name="connsiteY0" fmla="*/ 0 h 58758"/>
                <a:gd name="connsiteX1" fmla="*/ 0 w 128376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8758">
                  <a:moveTo>
                    <a:pt x="12837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F40BA65B-F5E2-4AD7-91E8-24AF9BEB152F}"/>
                </a:ext>
              </a:extLst>
            </p:cNvPr>
            <p:cNvSpPr/>
            <p:nvPr/>
          </p:nvSpPr>
          <p:spPr>
            <a:xfrm>
              <a:off x="3179058" y="2140392"/>
              <a:ext cx="82985" cy="130882"/>
            </a:xfrm>
            <a:custGeom>
              <a:avLst/>
              <a:gdLst>
                <a:gd name="connsiteX0" fmla="*/ 82985 w 82985"/>
                <a:gd name="connsiteY0" fmla="*/ 0 h 130882"/>
                <a:gd name="connsiteX1" fmla="*/ 0 w 82985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30882">
                  <a:moveTo>
                    <a:pt x="82985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EB78080A-274B-4163-9FC5-BBDB02532E87}"/>
                </a:ext>
              </a:extLst>
            </p:cNvPr>
            <p:cNvSpPr/>
            <p:nvPr/>
          </p:nvSpPr>
          <p:spPr>
            <a:xfrm>
              <a:off x="3863547" y="4840476"/>
              <a:ext cx="82706" cy="130882"/>
            </a:xfrm>
            <a:custGeom>
              <a:avLst/>
              <a:gdLst>
                <a:gd name="connsiteX0" fmla="*/ 82707 w 82706"/>
                <a:gd name="connsiteY0" fmla="*/ 0 h 130882"/>
                <a:gd name="connsiteX1" fmla="*/ 0 w 82706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30882">
                  <a:moveTo>
                    <a:pt x="82707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A41A4C98-5E58-4A9B-AFCB-3ECE17ADA512}"/>
                </a:ext>
              </a:extLst>
            </p:cNvPr>
            <p:cNvSpPr/>
            <p:nvPr/>
          </p:nvSpPr>
          <p:spPr>
            <a:xfrm>
              <a:off x="7060707" y="2009509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E5E95C2A-E6DA-4340-8772-4D95B2A50542}"/>
                </a:ext>
              </a:extLst>
            </p:cNvPr>
            <p:cNvSpPr/>
            <p:nvPr/>
          </p:nvSpPr>
          <p:spPr>
            <a:xfrm>
              <a:off x="5461988" y="4835185"/>
              <a:ext cx="77694" cy="130882"/>
            </a:xfrm>
            <a:custGeom>
              <a:avLst/>
              <a:gdLst>
                <a:gd name="connsiteX0" fmla="*/ 77694 w 77694"/>
                <a:gd name="connsiteY0" fmla="*/ 0 h 130882"/>
                <a:gd name="connsiteX1" fmla="*/ 0 w 77694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130882">
                  <a:moveTo>
                    <a:pt x="77694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AC3C1490-3030-4256-8877-CC1950D1C852}"/>
                </a:ext>
              </a:extLst>
            </p:cNvPr>
            <p:cNvSpPr/>
            <p:nvPr/>
          </p:nvSpPr>
          <p:spPr>
            <a:xfrm>
              <a:off x="7512670" y="2811514"/>
              <a:ext cx="87997" cy="130882"/>
            </a:xfrm>
            <a:custGeom>
              <a:avLst/>
              <a:gdLst>
                <a:gd name="connsiteX0" fmla="*/ 87998 w 87997"/>
                <a:gd name="connsiteY0" fmla="*/ 0 h 130882"/>
                <a:gd name="connsiteX1" fmla="*/ 0 w 87997"/>
                <a:gd name="connsiteY1" fmla="*/ 130883 h 130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30882">
                  <a:moveTo>
                    <a:pt x="87998" y="0"/>
                  </a:moveTo>
                  <a:lnTo>
                    <a:pt x="0" y="1308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7C5DDD15-5E70-4188-861C-9785D0EE6172}"/>
                </a:ext>
              </a:extLst>
            </p:cNvPr>
            <p:cNvSpPr/>
            <p:nvPr/>
          </p:nvSpPr>
          <p:spPr>
            <a:xfrm>
              <a:off x="5916457" y="1760832"/>
              <a:ext cx="128376" cy="55973"/>
            </a:xfrm>
            <a:custGeom>
              <a:avLst/>
              <a:gdLst>
                <a:gd name="connsiteX0" fmla="*/ 128376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6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910269FF-9AC5-40CC-B961-315C984E5874}"/>
                </a:ext>
              </a:extLst>
            </p:cNvPr>
            <p:cNvSpPr/>
            <p:nvPr/>
          </p:nvSpPr>
          <p:spPr>
            <a:xfrm>
              <a:off x="3863547" y="4003661"/>
              <a:ext cx="128098" cy="64327"/>
            </a:xfrm>
            <a:custGeom>
              <a:avLst/>
              <a:gdLst>
                <a:gd name="connsiteX0" fmla="*/ 128098 w 128098"/>
                <a:gd name="connsiteY0" fmla="*/ 0 h 64327"/>
                <a:gd name="connsiteX1" fmla="*/ 0 w 128098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64327">
                  <a:moveTo>
                    <a:pt x="128098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1B80CAF7-9797-4E8D-A363-BB50771864CD}"/>
                </a:ext>
              </a:extLst>
            </p:cNvPr>
            <p:cNvSpPr/>
            <p:nvPr/>
          </p:nvSpPr>
          <p:spPr>
            <a:xfrm>
              <a:off x="6146477" y="1771414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12112CA1-5284-4693-A6C9-FA1740455AD6}"/>
                </a:ext>
              </a:extLst>
            </p:cNvPr>
            <p:cNvSpPr/>
            <p:nvPr/>
          </p:nvSpPr>
          <p:spPr>
            <a:xfrm>
              <a:off x="8654135" y="5399094"/>
              <a:ext cx="128376" cy="21442"/>
            </a:xfrm>
            <a:custGeom>
              <a:avLst/>
              <a:gdLst>
                <a:gd name="connsiteX0" fmla="*/ 128377 w 128376"/>
                <a:gd name="connsiteY0" fmla="*/ 0 h 21442"/>
                <a:gd name="connsiteX1" fmla="*/ 0 w 128376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1442">
                  <a:moveTo>
                    <a:pt x="128377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280D4AA7-5B02-4462-95F2-02B7C48EF773}"/>
                </a:ext>
              </a:extLst>
            </p:cNvPr>
            <p:cNvSpPr/>
            <p:nvPr/>
          </p:nvSpPr>
          <p:spPr>
            <a:xfrm>
              <a:off x="6376496" y="1779490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D5553F84-2DA6-46A3-9B3E-579FDE844CD1}"/>
                </a:ext>
              </a:extLst>
            </p:cNvPr>
            <p:cNvSpPr/>
            <p:nvPr/>
          </p:nvSpPr>
          <p:spPr>
            <a:xfrm>
              <a:off x="6600946" y="4011737"/>
              <a:ext cx="128376" cy="56251"/>
            </a:xfrm>
            <a:custGeom>
              <a:avLst/>
              <a:gdLst>
                <a:gd name="connsiteX0" fmla="*/ 128376 w 128376"/>
                <a:gd name="connsiteY0" fmla="*/ 0 h 56251"/>
                <a:gd name="connsiteX1" fmla="*/ 0 w 128376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6251">
                  <a:moveTo>
                    <a:pt x="128376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3127DB3B-291A-4090-A622-B85BF927C881}"/>
                </a:ext>
              </a:extLst>
            </p:cNvPr>
            <p:cNvSpPr/>
            <p:nvPr/>
          </p:nvSpPr>
          <p:spPr>
            <a:xfrm>
              <a:off x="1131161" y="199335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D499860A-6B5F-4CE5-AFC9-E94290B818A7}"/>
                </a:ext>
              </a:extLst>
            </p:cNvPr>
            <p:cNvSpPr/>
            <p:nvPr/>
          </p:nvSpPr>
          <p:spPr>
            <a:xfrm>
              <a:off x="6600946" y="17900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27B79879-E8A5-4436-84F0-3CC783289BA2}"/>
                </a:ext>
              </a:extLst>
            </p:cNvPr>
            <p:cNvSpPr/>
            <p:nvPr/>
          </p:nvSpPr>
          <p:spPr>
            <a:xfrm>
              <a:off x="6146477" y="2191074"/>
              <a:ext cx="123085" cy="80200"/>
            </a:xfrm>
            <a:custGeom>
              <a:avLst/>
              <a:gdLst>
                <a:gd name="connsiteX0" fmla="*/ 123085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336B7BB3-90B8-49A1-860D-C09F4CA6F81F}"/>
                </a:ext>
              </a:extLst>
            </p:cNvPr>
            <p:cNvSpPr/>
            <p:nvPr/>
          </p:nvSpPr>
          <p:spPr>
            <a:xfrm>
              <a:off x="7969646" y="2191074"/>
              <a:ext cx="123085" cy="74909"/>
            </a:xfrm>
            <a:custGeom>
              <a:avLst/>
              <a:gdLst>
                <a:gd name="connsiteX0" fmla="*/ 123086 w 123085"/>
                <a:gd name="connsiteY0" fmla="*/ 0 h 74909"/>
                <a:gd name="connsiteX1" fmla="*/ 0 w 12308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6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A46DC48E-393C-48F6-99C1-FFCE261590B5}"/>
                </a:ext>
              </a:extLst>
            </p:cNvPr>
            <p:cNvSpPr/>
            <p:nvPr/>
          </p:nvSpPr>
          <p:spPr>
            <a:xfrm>
              <a:off x="4093288" y="3792578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7C9C6B7-4D1E-4FC3-B04D-09338F5607EB}"/>
                </a:ext>
              </a:extLst>
            </p:cNvPr>
            <p:cNvSpPr/>
            <p:nvPr/>
          </p:nvSpPr>
          <p:spPr>
            <a:xfrm>
              <a:off x="5461988" y="3797869"/>
              <a:ext cx="128376" cy="42884"/>
            </a:xfrm>
            <a:custGeom>
              <a:avLst/>
              <a:gdLst>
                <a:gd name="connsiteX0" fmla="*/ 128376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6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AE72390A-FFA7-4D85-AF5C-AF90BF520BEC}"/>
                </a:ext>
              </a:extLst>
            </p:cNvPr>
            <p:cNvSpPr/>
            <p:nvPr/>
          </p:nvSpPr>
          <p:spPr>
            <a:xfrm>
              <a:off x="3863547" y="3797869"/>
              <a:ext cx="128098" cy="45391"/>
            </a:xfrm>
            <a:custGeom>
              <a:avLst/>
              <a:gdLst>
                <a:gd name="connsiteX0" fmla="*/ 128098 w 128098"/>
                <a:gd name="connsiteY0" fmla="*/ 0 h 45391"/>
                <a:gd name="connsiteX1" fmla="*/ 0 w 128098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5391">
                  <a:moveTo>
                    <a:pt x="128098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3A275139-70E0-4279-96C6-5E8ECBB711FB}"/>
                </a:ext>
              </a:extLst>
            </p:cNvPr>
            <p:cNvSpPr/>
            <p:nvPr/>
          </p:nvSpPr>
          <p:spPr>
            <a:xfrm>
              <a:off x="6146477" y="3800654"/>
              <a:ext cx="128376" cy="40100"/>
            </a:xfrm>
            <a:custGeom>
              <a:avLst/>
              <a:gdLst>
                <a:gd name="connsiteX0" fmla="*/ 128377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7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9DBC5978-9C7A-4411-8562-BA9E8BF67A53}"/>
                </a:ext>
              </a:extLst>
            </p:cNvPr>
            <p:cNvSpPr/>
            <p:nvPr/>
          </p:nvSpPr>
          <p:spPr>
            <a:xfrm>
              <a:off x="3409078" y="3126747"/>
              <a:ext cx="128098" cy="40100"/>
            </a:xfrm>
            <a:custGeom>
              <a:avLst/>
              <a:gdLst>
                <a:gd name="connsiteX0" fmla="*/ 128098 w 128098"/>
                <a:gd name="connsiteY0" fmla="*/ 0 h 40100"/>
                <a:gd name="connsiteX1" fmla="*/ 0 w 12809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40100">
                  <a:moveTo>
                    <a:pt x="128098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B4844093-B3A4-4504-900A-505988E4B736}"/>
                </a:ext>
              </a:extLst>
            </p:cNvPr>
            <p:cNvSpPr/>
            <p:nvPr/>
          </p:nvSpPr>
          <p:spPr>
            <a:xfrm>
              <a:off x="2954608" y="3142898"/>
              <a:ext cx="128098" cy="23948"/>
            </a:xfrm>
            <a:custGeom>
              <a:avLst/>
              <a:gdLst>
                <a:gd name="connsiteX0" fmla="*/ 128098 w 128098"/>
                <a:gd name="connsiteY0" fmla="*/ 0 h 23948"/>
                <a:gd name="connsiteX1" fmla="*/ 0 w 12809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3948">
                  <a:moveTo>
                    <a:pt x="128098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59995E2B-A339-4D4A-926A-2D285E37374B}"/>
                </a:ext>
              </a:extLst>
            </p:cNvPr>
            <p:cNvSpPr/>
            <p:nvPr/>
          </p:nvSpPr>
          <p:spPr>
            <a:xfrm>
              <a:off x="2724589" y="3153480"/>
              <a:ext cx="128376" cy="16151"/>
            </a:xfrm>
            <a:custGeom>
              <a:avLst/>
              <a:gdLst>
                <a:gd name="connsiteX0" fmla="*/ 128376 w 128376"/>
                <a:gd name="connsiteY0" fmla="*/ 0 h 16151"/>
                <a:gd name="connsiteX1" fmla="*/ 0 w 128376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6151">
                  <a:moveTo>
                    <a:pt x="12837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6EB28D88-79DD-4122-A8A6-615465083D12}"/>
                </a:ext>
              </a:extLst>
            </p:cNvPr>
            <p:cNvSpPr/>
            <p:nvPr/>
          </p:nvSpPr>
          <p:spPr>
            <a:xfrm>
              <a:off x="7285435" y="5161278"/>
              <a:ext cx="128098" cy="32024"/>
            </a:xfrm>
            <a:custGeom>
              <a:avLst/>
              <a:gdLst>
                <a:gd name="connsiteX0" fmla="*/ 128098 w 128098"/>
                <a:gd name="connsiteY0" fmla="*/ 0 h 32024"/>
                <a:gd name="connsiteX1" fmla="*/ 0 w 128098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2024">
                  <a:moveTo>
                    <a:pt x="128098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8681A99B-60ED-4932-A0EA-9C1A96BCE774}"/>
                </a:ext>
              </a:extLst>
            </p:cNvPr>
            <p:cNvSpPr/>
            <p:nvPr/>
          </p:nvSpPr>
          <p:spPr>
            <a:xfrm>
              <a:off x="5692007" y="3805945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6CBF838D-3ED3-4020-B16A-95D5F954CD7E}"/>
                </a:ext>
              </a:extLst>
            </p:cNvPr>
            <p:cNvSpPr/>
            <p:nvPr/>
          </p:nvSpPr>
          <p:spPr>
            <a:xfrm>
              <a:off x="294903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0" name="Freeform: Shape 779">
              <a:extLst>
                <a:ext uri="{FF2B5EF4-FFF2-40B4-BE49-F238E27FC236}">
                  <a16:creationId xmlns:a16="http://schemas.microsoft.com/office/drawing/2014/main" id="{5B91CDAB-1915-4AEB-8436-B4207AC6EF1E}"/>
                </a:ext>
              </a:extLst>
            </p:cNvPr>
            <p:cNvSpPr/>
            <p:nvPr/>
          </p:nvSpPr>
          <p:spPr>
            <a:xfrm>
              <a:off x="4777777" y="448105"/>
              <a:ext cx="128376" cy="18657"/>
            </a:xfrm>
            <a:custGeom>
              <a:avLst/>
              <a:gdLst>
                <a:gd name="connsiteX0" fmla="*/ 128377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1" name="Freeform: Shape 780">
              <a:extLst>
                <a:ext uri="{FF2B5EF4-FFF2-40B4-BE49-F238E27FC236}">
                  <a16:creationId xmlns:a16="http://schemas.microsoft.com/office/drawing/2014/main" id="{BB90A0E2-2AFD-4850-A96F-836A8231F62D}"/>
                </a:ext>
              </a:extLst>
            </p:cNvPr>
            <p:cNvSpPr/>
            <p:nvPr/>
          </p:nvSpPr>
          <p:spPr>
            <a:xfrm>
              <a:off x="3638819" y="4014522"/>
              <a:ext cx="128376" cy="50682"/>
            </a:xfrm>
            <a:custGeom>
              <a:avLst/>
              <a:gdLst>
                <a:gd name="connsiteX0" fmla="*/ 128377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7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2" name="Freeform: Shape 781">
              <a:extLst>
                <a:ext uri="{FF2B5EF4-FFF2-40B4-BE49-F238E27FC236}">
                  <a16:creationId xmlns:a16="http://schemas.microsoft.com/office/drawing/2014/main" id="{0EEE56D0-49AF-4165-899A-578AC5471795}"/>
                </a:ext>
              </a:extLst>
            </p:cNvPr>
            <p:cNvSpPr/>
            <p:nvPr/>
          </p:nvSpPr>
          <p:spPr>
            <a:xfrm>
              <a:off x="6146477" y="1560331"/>
              <a:ext cx="128376" cy="32024"/>
            </a:xfrm>
            <a:custGeom>
              <a:avLst/>
              <a:gdLst>
                <a:gd name="connsiteX0" fmla="*/ 128377 w 128376"/>
                <a:gd name="connsiteY0" fmla="*/ 0 h 32024"/>
                <a:gd name="connsiteX1" fmla="*/ 0 w 1283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7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1BC99E9D-C7EE-4910-B00B-A5D1C8B08A0B}"/>
                </a:ext>
              </a:extLst>
            </p:cNvPr>
            <p:cNvSpPr/>
            <p:nvPr/>
          </p:nvSpPr>
          <p:spPr>
            <a:xfrm>
              <a:off x="7969646" y="5391297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9B27E940-9C8F-4436-BCDA-F44AE98EFBBD}"/>
                </a:ext>
              </a:extLst>
            </p:cNvPr>
            <p:cNvSpPr/>
            <p:nvPr/>
          </p:nvSpPr>
          <p:spPr>
            <a:xfrm>
              <a:off x="5916457" y="4230896"/>
              <a:ext cx="128376" cy="61542"/>
            </a:xfrm>
            <a:custGeom>
              <a:avLst/>
              <a:gdLst>
                <a:gd name="connsiteX0" fmla="*/ 128376 w 128376"/>
                <a:gd name="connsiteY0" fmla="*/ 0 h 61542"/>
                <a:gd name="connsiteX1" fmla="*/ 0 w 128376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542">
                  <a:moveTo>
                    <a:pt x="128376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5" name="Freeform: Shape 784">
              <a:extLst>
                <a:ext uri="{FF2B5EF4-FFF2-40B4-BE49-F238E27FC236}">
                  <a16:creationId xmlns:a16="http://schemas.microsoft.com/office/drawing/2014/main" id="{296150F1-900F-4D81-BD47-5FCC2981219A}"/>
                </a:ext>
              </a:extLst>
            </p:cNvPr>
            <p:cNvSpPr/>
            <p:nvPr/>
          </p:nvSpPr>
          <p:spPr>
            <a:xfrm>
              <a:off x="9113895" y="4923461"/>
              <a:ext cx="128376" cy="45391"/>
            </a:xfrm>
            <a:custGeom>
              <a:avLst/>
              <a:gdLst>
                <a:gd name="connsiteX0" fmla="*/ 128376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6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6" name="Freeform: Shape 785">
              <a:extLst>
                <a:ext uri="{FF2B5EF4-FFF2-40B4-BE49-F238E27FC236}">
                  <a16:creationId xmlns:a16="http://schemas.microsoft.com/office/drawing/2014/main" id="{47C48FC7-F46B-431B-8FAA-4BFF0C01875C}"/>
                </a:ext>
              </a:extLst>
            </p:cNvPr>
            <p:cNvSpPr/>
            <p:nvPr/>
          </p:nvSpPr>
          <p:spPr>
            <a:xfrm>
              <a:off x="671400" y="1544179"/>
              <a:ext cx="128376" cy="48175"/>
            </a:xfrm>
            <a:custGeom>
              <a:avLst/>
              <a:gdLst>
                <a:gd name="connsiteX0" fmla="*/ 128377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7" name="Freeform: Shape 786">
              <a:extLst>
                <a:ext uri="{FF2B5EF4-FFF2-40B4-BE49-F238E27FC236}">
                  <a16:creationId xmlns:a16="http://schemas.microsoft.com/office/drawing/2014/main" id="{D0A518DB-9A04-4555-9097-CA8600415FB9}"/>
                </a:ext>
              </a:extLst>
            </p:cNvPr>
            <p:cNvSpPr/>
            <p:nvPr/>
          </p:nvSpPr>
          <p:spPr>
            <a:xfrm>
              <a:off x="8199665" y="5388512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8" name="Freeform: Shape 787">
              <a:extLst>
                <a:ext uri="{FF2B5EF4-FFF2-40B4-BE49-F238E27FC236}">
                  <a16:creationId xmlns:a16="http://schemas.microsoft.com/office/drawing/2014/main" id="{FB845F9A-4608-4835-936B-AFFEC34E6900}"/>
                </a:ext>
              </a:extLst>
            </p:cNvPr>
            <p:cNvSpPr/>
            <p:nvPr/>
          </p:nvSpPr>
          <p:spPr>
            <a:xfrm>
              <a:off x="3409078" y="4236187"/>
              <a:ext cx="128098" cy="56251"/>
            </a:xfrm>
            <a:custGeom>
              <a:avLst/>
              <a:gdLst>
                <a:gd name="connsiteX0" fmla="*/ 128098 w 128098"/>
                <a:gd name="connsiteY0" fmla="*/ 0 h 56251"/>
                <a:gd name="connsiteX1" fmla="*/ 0 w 128098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6251">
                  <a:moveTo>
                    <a:pt x="128098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89" name="Freeform: Shape 788">
              <a:extLst>
                <a:ext uri="{FF2B5EF4-FFF2-40B4-BE49-F238E27FC236}">
                  <a16:creationId xmlns:a16="http://schemas.microsoft.com/office/drawing/2014/main" id="{A85F9DA2-E679-4296-A6A7-A212061BE76B}"/>
                </a:ext>
              </a:extLst>
            </p:cNvPr>
            <p:cNvSpPr/>
            <p:nvPr/>
          </p:nvSpPr>
          <p:spPr>
            <a:xfrm>
              <a:off x="6830966" y="5158493"/>
              <a:ext cx="128098" cy="34809"/>
            </a:xfrm>
            <a:custGeom>
              <a:avLst/>
              <a:gdLst>
                <a:gd name="connsiteX0" fmla="*/ 128098 w 128098"/>
                <a:gd name="connsiteY0" fmla="*/ 0 h 34809"/>
                <a:gd name="connsiteX1" fmla="*/ 0 w 12809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4809">
                  <a:moveTo>
                    <a:pt x="128098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0" name="Freeform: Shape 789">
              <a:extLst>
                <a:ext uri="{FF2B5EF4-FFF2-40B4-BE49-F238E27FC236}">
                  <a16:creationId xmlns:a16="http://schemas.microsoft.com/office/drawing/2014/main" id="{3F3E6453-077E-40DA-8421-0EE4C5DC3364}"/>
                </a:ext>
              </a:extLst>
            </p:cNvPr>
            <p:cNvSpPr/>
            <p:nvPr/>
          </p:nvSpPr>
          <p:spPr>
            <a:xfrm>
              <a:off x="3409078" y="3821818"/>
              <a:ext cx="128098" cy="21442"/>
            </a:xfrm>
            <a:custGeom>
              <a:avLst/>
              <a:gdLst>
                <a:gd name="connsiteX0" fmla="*/ 128098 w 128098"/>
                <a:gd name="connsiteY0" fmla="*/ 0 h 21442"/>
                <a:gd name="connsiteX1" fmla="*/ 0 w 128098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1442">
                  <a:moveTo>
                    <a:pt x="128098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1" name="Freeform: Shape 790">
              <a:extLst>
                <a:ext uri="{FF2B5EF4-FFF2-40B4-BE49-F238E27FC236}">
                  <a16:creationId xmlns:a16="http://schemas.microsoft.com/office/drawing/2014/main" id="{C30C2C3F-0EA1-4A84-99BE-801C9D1DD7E6}"/>
                </a:ext>
              </a:extLst>
            </p:cNvPr>
            <p:cNvSpPr/>
            <p:nvPr/>
          </p:nvSpPr>
          <p:spPr>
            <a:xfrm>
              <a:off x="446950" y="1095001"/>
              <a:ext cx="128376" cy="45669"/>
            </a:xfrm>
            <a:custGeom>
              <a:avLst/>
              <a:gdLst>
                <a:gd name="connsiteX0" fmla="*/ 128377 w 128376"/>
                <a:gd name="connsiteY0" fmla="*/ 0 h 45669"/>
                <a:gd name="connsiteX1" fmla="*/ 0 w 128376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669">
                  <a:moveTo>
                    <a:pt x="128377" y="0"/>
                  </a:moveTo>
                  <a:lnTo>
                    <a:pt x="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2" name="Freeform: Shape 791">
              <a:extLst>
                <a:ext uri="{FF2B5EF4-FFF2-40B4-BE49-F238E27FC236}">
                  <a16:creationId xmlns:a16="http://schemas.microsoft.com/office/drawing/2014/main" id="{DBE09E64-68AA-4ACA-9C1C-327A6261BC10}"/>
                </a:ext>
              </a:extLst>
            </p:cNvPr>
            <p:cNvSpPr/>
            <p:nvPr/>
          </p:nvSpPr>
          <p:spPr>
            <a:xfrm>
              <a:off x="5461988" y="1108367"/>
              <a:ext cx="128376" cy="32302"/>
            </a:xfrm>
            <a:custGeom>
              <a:avLst/>
              <a:gdLst>
                <a:gd name="connsiteX0" fmla="*/ 128376 w 128376"/>
                <a:gd name="connsiteY0" fmla="*/ 0 h 32302"/>
                <a:gd name="connsiteX1" fmla="*/ 0 w 128376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302">
                  <a:moveTo>
                    <a:pt x="12837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3" name="Freeform: Shape 792">
              <a:extLst>
                <a:ext uri="{FF2B5EF4-FFF2-40B4-BE49-F238E27FC236}">
                  <a16:creationId xmlns:a16="http://schemas.microsoft.com/office/drawing/2014/main" id="{EC349E61-19CD-444C-9F43-0F53C8A714D1}"/>
                </a:ext>
              </a:extLst>
            </p:cNvPr>
            <p:cNvSpPr/>
            <p:nvPr/>
          </p:nvSpPr>
          <p:spPr>
            <a:xfrm>
              <a:off x="6830966" y="5380437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4" name="Freeform: Shape 793">
              <a:extLst>
                <a:ext uri="{FF2B5EF4-FFF2-40B4-BE49-F238E27FC236}">
                  <a16:creationId xmlns:a16="http://schemas.microsoft.com/office/drawing/2014/main" id="{0FCD9F73-0595-40F8-9D86-3DACBA49262B}"/>
                </a:ext>
              </a:extLst>
            </p:cNvPr>
            <p:cNvSpPr/>
            <p:nvPr/>
          </p:nvSpPr>
          <p:spPr>
            <a:xfrm>
              <a:off x="2954608" y="4690657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5" name="Freeform: Shape 794">
              <a:extLst>
                <a:ext uri="{FF2B5EF4-FFF2-40B4-BE49-F238E27FC236}">
                  <a16:creationId xmlns:a16="http://schemas.microsoft.com/office/drawing/2014/main" id="{DDF16BC8-35CA-4ED4-9732-C427DC4B6E78}"/>
                </a:ext>
              </a:extLst>
            </p:cNvPr>
            <p:cNvSpPr/>
            <p:nvPr/>
          </p:nvSpPr>
          <p:spPr>
            <a:xfrm>
              <a:off x="5916457" y="5292160"/>
              <a:ext cx="88276" cy="128376"/>
            </a:xfrm>
            <a:custGeom>
              <a:avLst/>
              <a:gdLst>
                <a:gd name="connsiteX0" fmla="*/ 88276 w 88276"/>
                <a:gd name="connsiteY0" fmla="*/ 0 h 128376"/>
                <a:gd name="connsiteX1" fmla="*/ 0 w 88276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8376">
                  <a:moveTo>
                    <a:pt x="88276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6" name="Freeform: Shape 795">
              <a:extLst>
                <a:ext uri="{FF2B5EF4-FFF2-40B4-BE49-F238E27FC236}">
                  <a16:creationId xmlns:a16="http://schemas.microsoft.com/office/drawing/2014/main" id="{176EC54A-187C-42E0-8C33-D7B0634E19BF}"/>
                </a:ext>
              </a:extLst>
            </p:cNvPr>
            <p:cNvSpPr/>
            <p:nvPr/>
          </p:nvSpPr>
          <p:spPr>
            <a:xfrm>
              <a:off x="6146477" y="4247048"/>
              <a:ext cx="128376" cy="45391"/>
            </a:xfrm>
            <a:custGeom>
              <a:avLst/>
              <a:gdLst>
                <a:gd name="connsiteX0" fmla="*/ 128377 w 128376"/>
                <a:gd name="connsiteY0" fmla="*/ 0 h 45391"/>
                <a:gd name="connsiteX1" fmla="*/ 0 w 128376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5391">
                  <a:moveTo>
                    <a:pt x="128377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7" name="Freeform: Shape 796">
              <a:extLst>
                <a:ext uri="{FF2B5EF4-FFF2-40B4-BE49-F238E27FC236}">
                  <a16:creationId xmlns:a16="http://schemas.microsoft.com/office/drawing/2014/main" id="{F339C8D5-2B3C-4DB1-8280-F2BAC725BEEB}"/>
                </a:ext>
              </a:extLst>
            </p:cNvPr>
            <p:cNvSpPr/>
            <p:nvPr/>
          </p:nvSpPr>
          <p:spPr>
            <a:xfrm>
              <a:off x="9338345" y="4455625"/>
              <a:ext cx="128376" cy="61264"/>
            </a:xfrm>
            <a:custGeom>
              <a:avLst/>
              <a:gdLst>
                <a:gd name="connsiteX0" fmla="*/ 128376 w 128376"/>
                <a:gd name="connsiteY0" fmla="*/ 0 h 61264"/>
                <a:gd name="connsiteX1" fmla="*/ 0 w 128376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1264">
                  <a:moveTo>
                    <a:pt x="128376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8" name="Freeform: Shape 797">
              <a:extLst>
                <a:ext uri="{FF2B5EF4-FFF2-40B4-BE49-F238E27FC236}">
                  <a16:creationId xmlns:a16="http://schemas.microsoft.com/office/drawing/2014/main" id="{FE397364-A6C6-41F3-A018-919B4775FF4C}"/>
                </a:ext>
              </a:extLst>
            </p:cNvPr>
            <p:cNvSpPr/>
            <p:nvPr/>
          </p:nvSpPr>
          <p:spPr>
            <a:xfrm>
              <a:off x="6376496" y="1988067"/>
              <a:ext cx="128098" cy="53467"/>
            </a:xfrm>
            <a:custGeom>
              <a:avLst/>
              <a:gdLst>
                <a:gd name="connsiteX0" fmla="*/ 128098 w 128098"/>
                <a:gd name="connsiteY0" fmla="*/ 0 h 53467"/>
                <a:gd name="connsiteX1" fmla="*/ 0 w 128098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53467">
                  <a:moveTo>
                    <a:pt x="128098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DAD66497-9C06-45EC-AF1B-66729D3392EA}"/>
                </a:ext>
              </a:extLst>
            </p:cNvPr>
            <p:cNvSpPr/>
            <p:nvPr/>
          </p:nvSpPr>
          <p:spPr>
            <a:xfrm>
              <a:off x="3179058" y="4252339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0" name="Freeform: Shape 799">
              <a:extLst>
                <a:ext uri="{FF2B5EF4-FFF2-40B4-BE49-F238E27FC236}">
                  <a16:creationId xmlns:a16="http://schemas.microsoft.com/office/drawing/2014/main" id="{C087B3AD-8598-4B55-B902-3E5EA8135CD0}"/>
                </a:ext>
              </a:extLst>
            </p:cNvPr>
            <p:cNvSpPr/>
            <p:nvPr/>
          </p:nvSpPr>
          <p:spPr>
            <a:xfrm>
              <a:off x="5232247" y="3343399"/>
              <a:ext cx="128376" cy="48175"/>
            </a:xfrm>
            <a:custGeom>
              <a:avLst/>
              <a:gdLst>
                <a:gd name="connsiteX0" fmla="*/ 128376 w 128376"/>
                <a:gd name="connsiteY0" fmla="*/ 0 h 48175"/>
                <a:gd name="connsiteX1" fmla="*/ 0 w 12837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8175">
                  <a:moveTo>
                    <a:pt x="12837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1" name="Freeform: Shape 800">
              <a:extLst>
                <a:ext uri="{FF2B5EF4-FFF2-40B4-BE49-F238E27FC236}">
                  <a16:creationId xmlns:a16="http://schemas.microsoft.com/office/drawing/2014/main" id="{77E999B8-B524-40CE-A210-F714E7C7BF4E}"/>
                </a:ext>
              </a:extLst>
            </p:cNvPr>
            <p:cNvSpPr/>
            <p:nvPr/>
          </p:nvSpPr>
          <p:spPr>
            <a:xfrm>
              <a:off x="6603731" y="5131759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2" name="Freeform: Shape 801">
              <a:extLst>
                <a:ext uri="{FF2B5EF4-FFF2-40B4-BE49-F238E27FC236}">
                  <a16:creationId xmlns:a16="http://schemas.microsoft.com/office/drawing/2014/main" id="{C9198C4A-7EFA-41DF-B83C-95C3ECAC4194}"/>
                </a:ext>
              </a:extLst>
            </p:cNvPr>
            <p:cNvSpPr/>
            <p:nvPr/>
          </p:nvSpPr>
          <p:spPr>
            <a:xfrm>
              <a:off x="6830966" y="4942119"/>
              <a:ext cx="128098" cy="26733"/>
            </a:xfrm>
            <a:custGeom>
              <a:avLst/>
              <a:gdLst>
                <a:gd name="connsiteX0" fmla="*/ 128098 w 128098"/>
                <a:gd name="connsiteY0" fmla="*/ 0 h 26733"/>
                <a:gd name="connsiteX1" fmla="*/ 0 w 128098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26733">
                  <a:moveTo>
                    <a:pt x="128098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3" name="Freeform: Shape 802">
              <a:extLst>
                <a:ext uri="{FF2B5EF4-FFF2-40B4-BE49-F238E27FC236}">
                  <a16:creationId xmlns:a16="http://schemas.microsoft.com/office/drawing/2014/main" id="{26F8875B-3DBE-4FFD-8371-770E07A7FBFB}"/>
                </a:ext>
              </a:extLst>
            </p:cNvPr>
            <p:cNvSpPr/>
            <p:nvPr/>
          </p:nvSpPr>
          <p:spPr>
            <a:xfrm>
              <a:off x="4777777" y="3348690"/>
              <a:ext cx="128376" cy="42884"/>
            </a:xfrm>
            <a:custGeom>
              <a:avLst/>
              <a:gdLst>
                <a:gd name="connsiteX0" fmla="*/ 128377 w 128376"/>
                <a:gd name="connsiteY0" fmla="*/ 0 h 42884"/>
                <a:gd name="connsiteX1" fmla="*/ 0 w 12837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2884">
                  <a:moveTo>
                    <a:pt x="12837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4" name="Freeform: Shape 803">
              <a:extLst>
                <a:ext uri="{FF2B5EF4-FFF2-40B4-BE49-F238E27FC236}">
                  <a16:creationId xmlns:a16="http://schemas.microsoft.com/office/drawing/2014/main" id="{5E2028B0-838F-4D62-9ACF-9B14605D47F9}"/>
                </a:ext>
              </a:extLst>
            </p:cNvPr>
            <p:cNvSpPr/>
            <p:nvPr/>
          </p:nvSpPr>
          <p:spPr>
            <a:xfrm>
              <a:off x="4547758" y="3353981"/>
              <a:ext cx="128376" cy="40100"/>
            </a:xfrm>
            <a:custGeom>
              <a:avLst/>
              <a:gdLst>
                <a:gd name="connsiteX0" fmla="*/ 128376 w 128376"/>
                <a:gd name="connsiteY0" fmla="*/ 0 h 40100"/>
                <a:gd name="connsiteX1" fmla="*/ 0 w 12837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40100">
                  <a:moveTo>
                    <a:pt x="128376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5" name="Freeform: Shape 804">
              <a:extLst>
                <a:ext uri="{FF2B5EF4-FFF2-40B4-BE49-F238E27FC236}">
                  <a16:creationId xmlns:a16="http://schemas.microsoft.com/office/drawing/2014/main" id="{560C03A8-F4EE-4C0D-A59D-C998014F7EEC}"/>
                </a:ext>
              </a:extLst>
            </p:cNvPr>
            <p:cNvSpPr/>
            <p:nvPr/>
          </p:nvSpPr>
          <p:spPr>
            <a:xfrm>
              <a:off x="6146477" y="4038471"/>
              <a:ext cx="128376" cy="29518"/>
            </a:xfrm>
            <a:custGeom>
              <a:avLst/>
              <a:gdLst>
                <a:gd name="connsiteX0" fmla="*/ 128377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6" name="Freeform: Shape 805">
              <a:extLst>
                <a:ext uri="{FF2B5EF4-FFF2-40B4-BE49-F238E27FC236}">
                  <a16:creationId xmlns:a16="http://schemas.microsoft.com/office/drawing/2014/main" id="{91E7D4ED-A820-4C86-8841-2C8759ED0EC1}"/>
                </a:ext>
              </a:extLst>
            </p:cNvPr>
            <p:cNvSpPr/>
            <p:nvPr/>
          </p:nvSpPr>
          <p:spPr>
            <a:xfrm>
              <a:off x="9792815" y="4038471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7" name="Freeform: Shape 806">
              <a:extLst>
                <a:ext uri="{FF2B5EF4-FFF2-40B4-BE49-F238E27FC236}">
                  <a16:creationId xmlns:a16="http://schemas.microsoft.com/office/drawing/2014/main" id="{39099C21-9926-4548-841E-1230E166F6B4}"/>
                </a:ext>
              </a:extLst>
            </p:cNvPr>
            <p:cNvSpPr/>
            <p:nvPr/>
          </p:nvSpPr>
          <p:spPr>
            <a:xfrm>
              <a:off x="4093288" y="3589292"/>
              <a:ext cx="128376" cy="29518"/>
            </a:xfrm>
            <a:custGeom>
              <a:avLst/>
              <a:gdLst>
                <a:gd name="connsiteX0" fmla="*/ 128376 w 128376"/>
                <a:gd name="connsiteY0" fmla="*/ 0 h 29518"/>
                <a:gd name="connsiteX1" fmla="*/ 0 w 12837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9518">
                  <a:moveTo>
                    <a:pt x="128376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8" name="Freeform: Shape 807">
              <a:extLst>
                <a:ext uri="{FF2B5EF4-FFF2-40B4-BE49-F238E27FC236}">
                  <a16:creationId xmlns:a16="http://schemas.microsoft.com/office/drawing/2014/main" id="{B800B08C-EF03-4E04-99ED-7695F17241F5}"/>
                </a:ext>
              </a:extLst>
            </p:cNvPr>
            <p:cNvSpPr/>
            <p:nvPr/>
          </p:nvSpPr>
          <p:spPr>
            <a:xfrm>
              <a:off x="3636312" y="5064926"/>
              <a:ext cx="85491" cy="128376"/>
            </a:xfrm>
            <a:custGeom>
              <a:avLst/>
              <a:gdLst>
                <a:gd name="connsiteX0" fmla="*/ 85492 w 85491"/>
                <a:gd name="connsiteY0" fmla="*/ 0 h 128376"/>
                <a:gd name="connsiteX1" fmla="*/ 0 w 85491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128376">
                  <a:moveTo>
                    <a:pt x="85492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09" name="Freeform: Shape 808">
              <a:extLst>
                <a:ext uri="{FF2B5EF4-FFF2-40B4-BE49-F238E27FC236}">
                  <a16:creationId xmlns:a16="http://schemas.microsoft.com/office/drawing/2014/main" id="{9A64ABF9-C7BF-47BC-86F4-B715326D922D}"/>
                </a:ext>
              </a:extLst>
            </p:cNvPr>
            <p:cNvSpPr/>
            <p:nvPr/>
          </p:nvSpPr>
          <p:spPr>
            <a:xfrm>
              <a:off x="9792815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0" name="Freeform: Shape 809">
              <a:extLst>
                <a:ext uri="{FF2B5EF4-FFF2-40B4-BE49-F238E27FC236}">
                  <a16:creationId xmlns:a16="http://schemas.microsoft.com/office/drawing/2014/main" id="{B22A37DD-ACB9-455F-B617-C75E276577C6}"/>
                </a:ext>
              </a:extLst>
            </p:cNvPr>
            <p:cNvSpPr/>
            <p:nvPr/>
          </p:nvSpPr>
          <p:spPr>
            <a:xfrm>
              <a:off x="4547758" y="3584001"/>
              <a:ext cx="128376" cy="34809"/>
            </a:xfrm>
            <a:custGeom>
              <a:avLst/>
              <a:gdLst>
                <a:gd name="connsiteX0" fmla="*/ 128376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6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1" name="Freeform: Shape 810">
              <a:extLst>
                <a:ext uri="{FF2B5EF4-FFF2-40B4-BE49-F238E27FC236}">
                  <a16:creationId xmlns:a16="http://schemas.microsoft.com/office/drawing/2014/main" id="{89765450-9E86-4F0B-BEA6-83C5084870D2}"/>
                </a:ext>
              </a:extLst>
            </p:cNvPr>
            <p:cNvSpPr/>
            <p:nvPr/>
          </p:nvSpPr>
          <p:spPr>
            <a:xfrm>
              <a:off x="4323308" y="3584001"/>
              <a:ext cx="128376" cy="32024"/>
            </a:xfrm>
            <a:custGeom>
              <a:avLst/>
              <a:gdLst>
                <a:gd name="connsiteX0" fmla="*/ 128376 w 128376"/>
                <a:gd name="connsiteY0" fmla="*/ 0 h 32024"/>
                <a:gd name="connsiteX1" fmla="*/ 0 w 1283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2024">
                  <a:moveTo>
                    <a:pt x="128376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2" name="Freeform: Shape 811">
              <a:extLst>
                <a:ext uri="{FF2B5EF4-FFF2-40B4-BE49-F238E27FC236}">
                  <a16:creationId xmlns:a16="http://schemas.microsoft.com/office/drawing/2014/main" id="{A4AA01EE-0751-47E5-8298-D67157F70496}"/>
                </a:ext>
              </a:extLst>
            </p:cNvPr>
            <p:cNvSpPr/>
            <p:nvPr/>
          </p:nvSpPr>
          <p:spPr>
            <a:xfrm>
              <a:off x="3179058" y="4043762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id="{A2FF5423-8EC9-4AA7-9346-DBC3CF0AAC79}"/>
                </a:ext>
              </a:extLst>
            </p:cNvPr>
            <p:cNvSpPr/>
            <p:nvPr/>
          </p:nvSpPr>
          <p:spPr>
            <a:xfrm>
              <a:off x="5916457" y="1971915"/>
              <a:ext cx="128376" cy="69618"/>
            </a:xfrm>
            <a:custGeom>
              <a:avLst/>
              <a:gdLst>
                <a:gd name="connsiteX0" fmla="*/ 128376 w 128376"/>
                <a:gd name="connsiteY0" fmla="*/ 0 h 69618"/>
                <a:gd name="connsiteX1" fmla="*/ 0 w 128376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9618">
                  <a:moveTo>
                    <a:pt x="128376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4" name="Freeform: Shape 813">
              <a:extLst>
                <a:ext uri="{FF2B5EF4-FFF2-40B4-BE49-F238E27FC236}">
                  <a16:creationId xmlns:a16="http://schemas.microsoft.com/office/drawing/2014/main" id="{9B4B156B-08FA-4922-98F1-2F37565F0242}"/>
                </a:ext>
              </a:extLst>
            </p:cNvPr>
            <p:cNvSpPr/>
            <p:nvPr/>
          </p:nvSpPr>
          <p:spPr>
            <a:xfrm>
              <a:off x="9338345" y="4944625"/>
              <a:ext cx="128376" cy="24227"/>
            </a:xfrm>
            <a:custGeom>
              <a:avLst/>
              <a:gdLst>
                <a:gd name="connsiteX0" fmla="*/ 128376 w 128376"/>
                <a:gd name="connsiteY0" fmla="*/ 0 h 24227"/>
                <a:gd name="connsiteX1" fmla="*/ 0 w 128376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4227">
                  <a:moveTo>
                    <a:pt x="128376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5" name="Freeform: Shape 814">
              <a:extLst>
                <a:ext uri="{FF2B5EF4-FFF2-40B4-BE49-F238E27FC236}">
                  <a16:creationId xmlns:a16="http://schemas.microsoft.com/office/drawing/2014/main" id="{59BD69E3-02FA-46DE-B79D-0EFC270AC644}"/>
                </a:ext>
              </a:extLst>
            </p:cNvPr>
            <p:cNvSpPr/>
            <p:nvPr/>
          </p:nvSpPr>
          <p:spPr>
            <a:xfrm>
              <a:off x="3863547" y="4623823"/>
              <a:ext cx="101364" cy="123085"/>
            </a:xfrm>
            <a:custGeom>
              <a:avLst/>
              <a:gdLst>
                <a:gd name="connsiteX0" fmla="*/ 101365 w 101364"/>
                <a:gd name="connsiteY0" fmla="*/ 0 h 123085"/>
                <a:gd name="connsiteX1" fmla="*/ 0 w 101364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23085">
                  <a:moveTo>
                    <a:pt x="101365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6" name="Freeform: Shape 815">
              <a:extLst>
                <a:ext uri="{FF2B5EF4-FFF2-40B4-BE49-F238E27FC236}">
                  <a16:creationId xmlns:a16="http://schemas.microsoft.com/office/drawing/2014/main" id="{819C4A9B-D148-4014-9A02-5DE97B17F498}"/>
                </a:ext>
              </a:extLst>
            </p:cNvPr>
            <p:cNvSpPr/>
            <p:nvPr/>
          </p:nvSpPr>
          <p:spPr>
            <a:xfrm>
              <a:off x="6370927" y="3551976"/>
              <a:ext cx="128376" cy="66833"/>
            </a:xfrm>
            <a:custGeom>
              <a:avLst/>
              <a:gdLst>
                <a:gd name="connsiteX0" fmla="*/ 128376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6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7" name="Freeform: Shape 816">
              <a:extLst>
                <a:ext uri="{FF2B5EF4-FFF2-40B4-BE49-F238E27FC236}">
                  <a16:creationId xmlns:a16="http://schemas.microsoft.com/office/drawing/2014/main" id="{3137E24B-7B00-4B28-AD25-33AF5620E5BB}"/>
                </a:ext>
              </a:extLst>
            </p:cNvPr>
            <p:cNvSpPr/>
            <p:nvPr/>
          </p:nvSpPr>
          <p:spPr>
            <a:xfrm>
              <a:off x="5007518" y="3581216"/>
              <a:ext cx="128376" cy="34809"/>
            </a:xfrm>
            <a:custGeom>
              <a:avLst/>
              <a:gdLst>
                <a:gd name="connsiteX0" fmla="*/ 128377 w 128376"/>
                <a:gd name="connsiteY0" fmla="*/ 0 h 34809"/>
                <a:gd name="connsiteX1" fmla="*/ 0 w 12837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4809">
                  <a:moveTo>
                    <a:pt x="12837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8" name="Freeform: Shape 817">
              <a:extLst>
                <a:ext uri="{FF2B5EF4-FFF2-40B4-BE49-F238E27FC236}">
                  <a16:creationId xmlns:a16="http://schemas.microsoft.com/office/drawing/2014/main" id="{554F7040-2FB2-4C9E-B067-6E6509DCFECF}"/>
                </a:ext>
              </a:extLst>
            </p:cNvPr>
            <p:cNvSpPr/>
            <p:nvPr/>
          </p:nvSpPr>
          <p:spPr>
            <a:xfrm>
              <a:off x="2270119" y="2923739"/>
              <a:ext cx="128376" cy="18657"/>
            </a:xfrm>
            <a:custGeom>
              <a:avLst/>
              <a:gdLst>
                <a:gd name="connsiteX0" fmla="*/ 128376 w 128376"/>
                <a:gd name="connsiteY0" fmla="*/ 0 h 18657"/>
                <a:gd name="connsiteX1" fmla="*/ 0 w 128376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18657">
                  <a:moveTo>
                    <a:pt x="128376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19" name="Freeform: Shape 818">
              <a:extLst>
                <a:ext uri="{FF2B5EF4-FFF2-40B4-BE49-F238E27FC236}">
                  <a16:creationId xmlns:a16="http://schemas.microsoft.com/office/drawing/2014/main" id="{2D4451D1-69EA-4782-A2D6-937FD6BF9ADB}"/>
                </a:ext>
              </a:extLst>
            </p:cNvPr>
            <p:cNvSpPr/>
            <p:nvPr/>
          </p:nvSpPr>
          <p:spPr>
            <a:xfrm>
              <a:off x="5916457" y="1341172"/>
              <a:ext cx="128376" cy="26733"/>
            </a:xfrm>
            <a:custGeom>
              <a:avLst/>
              <a:gdLst>
                <a:gd name="connsiteX0" fmla="*/ 128376 w 128376"/>
                <a:gd name="connsiteY0" fmla="*/ 0 h 26733"/>
                <a:gd name="connsiteX1" fmla="*/ 0 w 12837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0" name="Freeform: Shape 819">
              <a:extLst>
                <a:ext uri="{FF2B5EF4-FFF2-40B4-BE49-F238E27FC236}">
                  <a16:creationId xmlns:a16="http://schemas.microsoft.com/office/drawing/2014/main" id="{8E1DD660-E11B-4803-AE82-4787002391D2}"/>
                </a:ext>
              </a:extLst>
            </p:cNvPr>
            <p:cNvSpPr/>
            <p:nvPr/>
          </p:nvSpPr>
          <p:spPr>
            <a:xfrm>
              <a:off x="5692007" y="1327805"/>
              <a:ext cx="128376" cy="37315"/>
            </a:xfrm>
            <a:custGeom>
              <a:avLst/>
              <a:gdLst>
                <a:gd name="connsiteX0" fmla="*/ 128377 w 128376"/>
                <a:gd name="connsiteY0" fmla="*/ 0 h 37315"/>
                <a:gd name="connsiteX1" fmla="*/ 0 w 128376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37315">
                  <a:moveTo>
                    <a:pt x="128377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1" name="Freeform: Shape 820">
              <a:extLst>
                <a:ext uri="{FF2B5EF4-FFF2-40B4-BE49-F238E27FC236}">
                  <a16:creationId xmlns:a16="http://schemas.microsoft.com/office/drawing/2014/main" id="{E764F2D1-BC92-40FC-ABCE-125FD3663B1B}"/>
                </a:ext>
              </a:extLst>
            </p:cNvPr>
            <p:cNvSpPr/>
            <p:nvPr/>
          </p:nvSpPr>
          <p:spPr>
            <a:xfrm>
              <a:off x="5461988" y="1314438"/>
              <a:ext cx="128376" cy="50682"/>
            </a:xfrm>
            <a:custGeom>
              <a:avLst/>
              <a:gdLst>
                <a:gd name="connsiteX0" fmla="*/ 128376 w 128376"/>
                <a:gd name="connsiteY0" fmla="*/ 0 h 50682"/>
                <a:gd name="connsiteX1" fmla="*/ 0 w 128376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0682">
                  <a:moveTo>
                    <a:pt x="128376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2" name="Freeform: Shape 821">
              <a:extLst>
                <a:ext uri="{FF2B5EF4-FFF2-40B4-BE49-F238E27FC236}">
                  <a16:creationId xmlns:a16="http://schemas.microsoft.com/office/drawing/2014/main" id="{7A2E7659-9B80-42B1-8610-6C56072121E7}"/>
                </a:ext>
              </a:extLst>
            </p:cNvPr>
            <p:cNvSpPr/>
            <p:nvPr/>
          </p:nvSpPr>
          <p:spPr>
            <a:xfrm>
              <a:off x="6830966" y="2003940"/>
              <a:ext cx="128098" cy="37593"/>
            </a:xfrm>
            <a:custGeom>
              <a:avLst/>
              <a:gdLst>
                <a:gd name="connsiteX0" fmla="*/ 128098 w 128098"/>
                <a:gd name="connsiteY0" fmla="*/ 0 h 37593"/>
                <a:gd name="connsiteX1" fmla="*/ 0 w 128098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98" h="37593">
                  <a:moveTo>
                    <a:pt x="128098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3" name="Freeform: Shape 822">
              <a:extLst>
                <a:ext uri="{FF2B5EF4-FFF2-40B4-BE49-F238E27FC236}">
                  <a16:creationId xmlns:a16="http://schemas.microsoft.com/office/drawing/2014/main" id="{2A45E22A-BA67-4EC5-8643-F671036C53D8}"/>
                </a:ext>
              </a:extLst>
            </p:cNvPr>
            <p:cNvSpPr/>
            <p:nvPr/>
          </p:nvSpPr>
          <p:spPr>
            <a:xfrm>
              <a:off x="671400" y="1298287"/>
              <a:ext cx="128376" cy="66833"/>
            </a:xfrm>
            <a:custGeom>
              <a:avLst/>
              <a:gdLst>
                <a:gd name="connsiteX0" fmla="*/ 128377 w 128376"/>
                <a:gd name="connsiteY0" fmla="*/ 0 h 66833"/>
                <a:gd name="connsiteX1" fmla="*/ 0 w 128376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66833">
                  <a:moveTo>
                    <a:pt x="12837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4" name="Freeform: Shape 823">
              <a:extLst>
                <a:ext uri="{FF2B5EF4-FFF2-40B4-BE49-F238E27FC236}">
                  <a16:creationId xmlns:a16="http://schemas.microsoft.com/office/drawing/2014/main" id="{7FB1B3AD-4C81-4090-A771-4B3B19AE07AB}"/>
                </a:ext>
              </a:extLst>
            </p:cNvPr>
            <p:cNvSpPr/>
            <p:nvPr/>
          </p:nvSpPr>
          <p:spPr>
            <a:xfrm>
              <a:off x="5002227" y="1282135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5" name="Freeform: Shape 824">
              <a:extLst>
                <a:ext uri="{FF2B5EF4-FFF2-40B4-BE49-F238E27FC236}">
                  <a16:creationId xmlns:a16="http://schemas.microsoft.com/office/drawing/2014/main" id="{89376F80-08BB-49F1-B1CA-BD35A973828B}"/>
                </a:ext>
              </a:extLst>
            </p:cNvPr>
            <p:cNvSpPr/>
            <p:nvPr/>
          </p:nvSpPr>
          <p:spPr>
            <a:xfrm>
              <a:off x="9341130" y="266169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6" name="Freeform: Shape 825">
              <a:extLst>
                <a:ext uri="{FF2B5EF4-FFF2-40B4-BE49-F238E27FC236}">
                  <a16:creationId xmlns:a16="http://schemas.microsoft.com/office/drawing/2014/main" id="{E0C25A02-0172-48A9-927C-9F0C764EDF63}"/>
                </a:ext>
              </a:extLst>
            </p:cNvPr>
            <p:cNvSpPr/>
            <p:nvPr/>
          </p:nvSpPr>
          <p:spPr>
            <a:xfrm>
              <a:off x="9568365" y="2691213"/>
              <a:ext cx="128376" cy="26733"/>
            </a:xfrm>
            <a:custGeom>
              <a:avLst/>
              <a:gdLst>
                <a:gd name="connsiteX0" fmla="*/ 128377 w 128376"/>
                <a:gd name="connsiteY0" fmla="*/ 0 h 26733"/>
                <a:gd name="connsiteX1" fmla="*/ 0 w 12837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26733">
                  <a:moveTo>
                    <a:pt x="12837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7" name="Freeform: Shape 826">
              <a:extLst>
                <a:ext uri="{FF2B5EF4-FFF2-40B4-BE49-F238E27FC236}">
                  <a16:creationId xmlns:a16="http://schemas.microsoft.com/office/drawing/2014/main" id="{1D8CF02A-AD94-41E1-94F6-C388234E91D9}"/>
                </a:ext>
              </a:extLst>
            </p:cNvPr>
            <p:cNvSpPr/>
            <p:nvPr/>
          </p:nvSpPr>
          <p:spPr>
            <a:xfrm>
              <a:off x="3636312" y="787565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8" name="Freeform: Shape 827">
              <a:extLst>
                <a:ext uri="{FF2B5EF4-FFF2-40B4-BE49-F238E27FC236}">
                  <a16:creationId xmlns:a16="http://schemas.microsoft.com/office/drawing/2014/main" id="{7A6D6192-B8A7-44DB-9105-781B511AFE9D}"/>
                </a:ext>
              </a:extLst>
            </p:cNvPr>
            <p:cNvSpPr/>
            <p:nvPr/>
          </p:nvSpPr>
          <p:spPr>
            <a:xfrm>
              <a:off x="3866053" y="1910372"/>
              <a:ext cx="80200" cy="128376"/>
            </a:xfrm>
            <a:custGeom>
              <a:avLst/>
              <a:gdLst>
                <a:gd name="connsiteX0" fmla="*/ 80200 w 80200"/>
                <a:gd name="connsiteY0" fmla="*/ 0 h 128376"/>
                <a:gd name="connsiteX1" fmla="*/ 0 w 80200"/>
                <a:gd name="connsiteY1" fmla="*/ 128377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128376">
                  <a:moveTo>
                    <a:pt x="80200" y="0"/>
                  </a:moveTo>
                  <a:lnTo>
                    <a:pt x="0" y="12837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29" name="Freeform: Shape 828">
              <a:extLst>
                <a:ext uri="{FF2B5EF4-FFF2-40B4-BE49-F238E27FC236}">
                  <a16:creationId xmlns:a16="http://schemas.microsoft.com/office/drawing/2014/main" id="{7F2D63CA-A474-46AD-B7B8-2CA08FD79E6C}"/>
                </a:ext>
              </a:extLst>
            </p:cNvPr>
            <p:cNvSpPr/>
            <p:nvPr/>
          </p:nvSpPr>
          <p:spPr>
            <a:xfrm>
              <a:off x="8881369" y="3936828"/>
              <a:ext cx="77415" cy="128376"/>
            </a:xfrm>
            <a:custGeom>
              <a:avLst/>
              <a:gdLst>
                <a:gd name="connsiteX0" fmla="*/ 77416 w 77415"/>
                <a:gd name="connsiteY0" fmla="*/ 0 h 128376"/>
                <a:gd name="connsiteX1" fmla="*/ 0 w 77415"/>
                <a:gd name="connsiteY1" fmla="*/ 128376 h 12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128376">
                  <a:moveTo>
                    <a:pt x="77416" y="0"/>
                  </a:moveTo>
                  <a:lnTo>
                    <a:pt x="0" y="1283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0" name="Freeform: Shape 829">
              <a:extLst>
                <a:ext uri="{FF2B5EF4-FFF2-40B4-BE49-F238E27FC236}">
                  <a16:creationId xmlns:a16="http://schemas.microsoft.com/office/drawing/2014/main" id="{33D253C5-9E62-4D91-860F-C857C53BA0FF}"/>
                </a:ext>
              </a:extLst>
            </p:cNvPr>
            <p:cNvSpPr/>
            <p:nvPr/>
          </p:nvSpPr>
          <p:spPr>
            <a:xfrm>
              <a:off x="6146477" y="3560052"/>
              <a:ext cx="128376" cy="55973"/>
            </a:xfrm>
            <a:custGeom>
              <a:avLst/>
              <a:gdLst>
                <a:gd name="connsiteX0" fmla="*/ 128377 w 128376"/>
                <a:gd name="connsiteY0" fmla="*/ 0 h 55973"/>
                <a:gd name="connsiteX1" fmla="*/ 0 w 128376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376" h="55973">
                  <a:moveTo>
                    <a:pt x="128377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1" name="Freeform: Shape 830">
              <a:extLst>
                <a:ext uri="{FF2B5EF4-FFF2-40B4-BE49-F238E27FC236}">
                  <a16:creationId xmlns:a16="http://schemas.microsoft.com/office/drawing/2014/main" id="{822C717B-6BC0-41E2-98DE-BC075D957CDE}"/>
                </a:ext>
              </a:extLst>
            </p:cNvPr>
            <p:cNvSpPr/>
            <p:nvPr/>
          </p:nvSpPr>
          <p:spPr>
            <a:xfrm>
              <a:off x="5916457" y="3567849"/>
              <a:ext cx="125870" cy="50960"/>
            </a:xfrm>
            <a:custGeom>
              <a:avLst/>
              <a:gdLst>
                <a:gd name="connsiteX0" fmla="*/ 125870 w 125870"/>
                <a:gd name="connsiteY0" fmla="*/ 0 h 50960"/>
                <a:gd name="connsiteX1" fmla="*/ 0 w 125870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960">
                  <a:moveTo>
                    <a:pt x="125870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2" name="Freeform: Shape 831">
              <a:extLst>
                <a:ext uri="{FF2B5EF4-FFF2-40B4-BE49-F238E27FC236}">
                  <a16:creationId xmlns:a16="http://schemas.microsoft.com/office/drawing/2014/main" id="{0CB06003-50C0-47C7-9A5C-FEF3F83D47F0}"/>
                </a:ext>
              </a:extLst>
            </p:cNvPr>
            <p:cNvSpPr/>
            <p:nvPr/>
          </p:nvSpPr>
          <p:spPr>
            <a:xfrm>
              <a:off x="1128654" y="1239529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3" name="Freeform: Shape 832">
              <a:extLst>
                <a:ext uri="{FF2B5EF4-FFF2-40B4-BE49-F238E27FC236}">
                  <a16:creationId xmlns:a16="http://schemas.microsoft.com/office/drawing/2014/main" id="{D3184FBD-030B-484B-B256-8BB610354FB6}"/>
                </a:ext>
              </a:extLst>
            </p:cNvPr>
            <p:cNvSpPr/>
            <p:nvPr/>
          </p:nvSpPr>
          <p:spPr>
            <a:xfrm>
              <a:off x="2040100" y="2680353"/>
              <a:ext cx="125870" cy="37593"/>
            </a:xfrm>
            <a:custGeom>
              <a:avLst/>
              <a:gdLst>
                <a:gd name="connsiteX0" fmla="*/ 125870 w 125870"/>
                <a:gd name="connsiteY0" fmla="*/ 0 h 37593"/>
                <a:gd name="connsiteX1" fmla="*/ 0 w 12587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593">
                  <a:moveTo>
                    <a:pt x="125870" y="0"/>
                  </a:moveTo>
                  <a:lnTo>
                    <a:pt x="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4" name="Freeform: Shape 833">
              <a:extLst>
                <a:ext uri="{FF2B5EF4-FFF2-40B4-BE49-F238E27FC236}">
                  <a16:creationId xmlns:a16="http://schemas.microsoft.com/office/drawing/2014/main" id="{B23A078B-24F0-4296-A189-BA57D6D7FE7F}"/>
                </a:ext>
              </a:extLst>
            </p:cNvPr>
            <p:cNvSpPr/>
            <p:nvPr/>
          </p:nvSpPr>
          <p:spPr>
            <a:xfrm>
              <a:off x="5916457" y="5519395"/>
              <a:ext cx="82985" cy="125870"/>
            </a:xfrm>
            <a:custGeom>
              <a:avLst/>
              <a:gdLst>
                <a:gd name="connsiteX0" fmla="*/ 82985 w 82985"/>
                <a:gd name="connsiteY0" fmla="*/ 0 h 125870"/>
                <a:gd name="connsiteX1" fmla="*/ 0 w 82985"/>
                <a:gd name="connsiteY1" fmla="*/ 125870 h 125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870">
                  <a:moveTo>
                    <a:pt x="82985" y="0"/>
                  </a:moveTo>
                  <a:lnTo>
                    <a:pt x="0" y="1258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5" name="Freeform: Shape 834">
              <a:extLst>
                <a:ext uri="{FF2B5EF4-FFF2-40B4-BE49-F238E27FC236}">
                  <a16:creationId xmlns:a16="http://schemas.microsoft.com/office/drawing/2014/main" id="{5E82F9A1-23AC-496D-8504-00D9A68B2840}"/>
                </a:ext>
              </a:extLst>
            </p:cNvPr>
            <p:cNvSpPr/>
            <p:nvPr/>
          </p:nvSpPr>
          <p:spPr>
            <a:xfrm>
              <a:off x="2272904" y="2664480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6" name="Freeform: Shape 835">
              <a:extLst>
                <a:ext uri="{FF2B5EF4-FFF2-40B4-BE49-F238E27FC236}">
                  <a16:creationId xmlns:a16="http://schemas.microsoft.com/office/drawing/2014/main" id="{8EE48908-5C7D-4C09-AD00-7C801A11980E}"/>
                </a:ext>
              </a:extLst>
            </p:cNvPr>
            <p:cNvSpPr/>
            <p:nvPr/>
          </p:nvSpPr>
          <p:spPr>
            <a:xfrm>
              <a:off x="3409078" y="4027888"/>
              <a:ext cx="125591" cy="40100"/>
            </a:xfrm>
            <a:custGeom>
              <a:avLst/>
              <a:gdLst>
                <a:gd name="connsiteX0" fmla="*/ 125592 w 125591"/>
                <a:gd name="connsiteY0" fmla="*/ 0 h 40100"/>
                <a:gd name="connsiteX1" fmla="*/ 0 w 1255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0100">
                  <a:moveTo>
                    <a:pt x="125592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7" name="Freeform: Shape 836">
              <a:extLst>
                <a:ext uri="{FF2B5EF4-FFF2-40B4-BE49-F238E27FC236}">
                  <a16:creationId xmlns:a16="http://schemas.microsoft.com/office/drawing/2014/main" id="{2318D114-3BA0-4E32-8B27-334A43DA5E6B}"/>
                </a:ext>
              </a:extLst>
            </p:cNvPr>
            <p:cNvSpPr/>
            <p:nvPr/>
          </p:nvSpPr>
          <p:spPr>
            <a:xfrm>
              <a:off x="5232247" y="1301071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8" name="Freeform: Shape 837">
              <a:extLst>
                <a:ext uri="{FF2B5EF4-FFF2-40B4-BE49-F238E27FC236}">
                  <a16:creationId xmlns:a16="http://schemas.microsoft.com/office/drawing/2014/main" id="{319DE2DD-DB94-4144-AD6F-3E132BB01483}"/>
                </a:ext>
              </a:extLst>
            </p:cNvPr>
            <p:cNvSpPr/>
            <p:nvPr/>
          </p:nvSpPr>
          <p:spPr>
            <a:xfrm>
              <a:off x="3636312" y="57119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39" name="Freeform: Shape 838">
              <a:extLst>
                <a:ext uri="{FF2B5EF4-FFF2-40B4-BE49-F238E27FC236}">
                  <a16:creationId xmlns:a16="http://schemas.microsoft.com/office/drawing/2014/main" id="{5B2E228E-4F2D-4B0B-9673-7B787C525D35}"/>
                </a:ext>
              </a:extLst>
            </p:cNvPr>
            <p:cNvSpPr/>
            <p:nvPr/>
          </p:nvSpPr>
          <p:spPr>
            <a:xfrm>
              <a:off x="7969646" y="2594861"/>
              <a:ext cx="88276" cy="125591"/>
            </a:xfrm>
            <a:custGeom>
              <a:avLst/>
              <a:gdLst>
                <a:gd name="connsiteX0" fmla="*/ 88277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0" name="Freeform: Shape 839">
              <a:extLst>
                <a:ext uri="{FF2B5EF4-FFF2-40B4-BE49-F238E27FC236}">
                  <a16:creationId xmlns:a16="http://schemas.microsoft.com/office/drawing/2014/main" id="{E9E4834A-F958-40F0-A427-A581394D232A}"/>
                </a:ext>
              </a:extLst>
            </p:cNvPr>
            <p:cNvSpPr/>
            <p:nvPr/>
          </p:nvSpPr>
          <p:spPr>
            <a:xfrm>
              <a:off x="5232247" y="3987788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3" name="Freeform: Shape 842">
              <a:extLst>
                <a:ext uri="{FF2B5EF4-FFF2-40B4-BE49-F238E27FC236}">
                  <a16:creationId xmlns:a16="http://schemas.microsoft.com/office/drawing/2014/main" id="{BFBE3954-C153-45ED-BF01-91C0A6FF810F}"/>
                </a:ext>
              </a:extLst>
            </p:cNvPr>
            <p:cNvSpPr/>
            <p:nvPr/>
          </p:nvSpPr>
          <p:spPr>
            <a:xfrm>
              <a:off x="903926" y="2020091"/>
              <a:ext cx="125870" cy="23948"/>
            </a:xfrm>
            <a:custGeom>
              <a:avLst/>
              <a:gdLst>
                <a:gd name="connsiteX0" fmla="*/ 125870 w 125870"/>
                <a:gd name="connsiteY0" fmla="*/ 0 h 23948"/>
                <a:gd name="connsiteX1" fmla="*/ 0 w 12587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23948">
                  <a:moveTo>
                    <a:pt x="125870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4" name="Freeform: Shape 843">
              <a:extLst>
                <a:ext uri="{FF2B5EF4-FFF2-40B4-BE49-F238E27FC236}">
                  <a16:creationId xmlns:a16="http://schemas.microsoft.com/office/drawing/2014/main" id="{9ECEB798-42BA-42DA-BE7A-A7C198357BCA}"/>
                </a:ext>
              </a:extLst>
            </p:cNvPr>
            <p:cNvSpPr/>
            <p:nvPr/>
          </p:nvSpPr>
          <p:spPr>
            <a:xfrm>
              <a:off x="5686716" y="1961333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5" name="Freeform: Shape 844">
              <a:extLst>
                <a:ext uri="{FF2B5EF4-FFF2-40B4-BE49-F238E27FC236}">
                  <a16:creationId xmlns:a16="http://schemas.microsoft.com/office/drawing/2014/main" id="{26A9A330-461C-4E3E-B042-E055533A2DE3}"/>
                </a:ext>
              </a:extLst>
            </p:cNvPr>
            <p:cNvSpPr/>
            <p:nvPr/>
          </p:nvSpPr>
          <p:spPr>
            <a:xfrm>
              <a:off x="5002227" y="3982219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6" name="Freeform: Shape 845">
              <a:extLst>
                <a:ext uri="{FF2B5EF4-FFF2-40B4-BE49-F238E27FC236}">
                  <a16:creationId xmlns:a16="http://schemas.microsoft.com/office/drawing/2014/main" id="{F10DB981-A4EF-48B9-A004-4B9C39CA9149}"/>
                </a:ext>
              </a:extLst>
            </p:cNvPr>
            <p:cNvSpPr/>
            <p:nvPr/>
          </p:nvSpPr>
          <p:spPr>
            <a:xfrm>
              <a:off x="6376496" y="4471498"/>
              <a:ext cx="122807" cy="50960"/>
            </a:xfrm>
            <a:custGeom>
              <a:avLst/>
              <a:gdLst>
                <a:gd name="connsiteX0" fmla="*/ 122807 w 122807"/>
                <a:gd name="connsiteY0" fmla="*/ 0 h 50960"/>
                <a:gd name="connsiteX1" fmla="*/ 0 w 122807"/>
                <a:gd name="connsiteY1" fmla="*/ 50961 h 50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0960">
                  <a:moveTo>
                    <a:pt x="122807" y="0"/>
                  </a:moveTo>
                  <a:lnTo>
                    <a:pt x="0" y="509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7" name="Freeform: Shape 846">
              <a:extLst>
                <a:ext uri="{FF2B5EF4-FFF2-40B4-BE49-F238E27FC236}">
                  <a16:creationId xmlns:a16="http://schemas.microsoft.com/office/drawing/2014/main" id="{A74CC0C5-04FF-49A0-8BDF-D9874A0A41F0}"/>
                </a:ext>
              </a:extLst>
            </p:cNvPr>
            <p:cNvSpPr/>
            <p:nvPr/>
          </p:nvSpPr>
          <p:spPr>
            <a:xfrm>
              <a:off x="2727373" y="2899512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8" name="Freeform: Shape 847">
              <a:extLst>
                <a:ext uri="{FF2B5EF4-FFF2-40B4-BE49-F238E27FC236}">
                  <a16:creationId xmlns:a16="http://schemas.microsoft.com/office/drawing/2014/main" id="{A9CAECF2-43C5-4A79-8FCD-D721ACBAB3D3}"/>
                </a:ext>
              </a:extLst>
            </p:cNvPr>
            <p:cNvSpPr/>
            <p:nvPr/>
          </p:nvSpPr>
          <p:spPr>
            <a:xfrm>
              <a:off x="2957114" y="2886145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49" name="Freeform: Shape 848">
              <a:extLst>
                <a:ext uri="{FF2B5EF4-FFF2-40B4-BE49-F238E27FC236}">
                  <a16:creationId xmlns:a16="http://schemas.microsoft.com/office/drawing/2014/main" id="{C02A0EBE-B554-42E8-A205-C2220F7E413F}"/>
                </a:ext>
              </a:extLst>
            </p:cNvPr>
            <p:cNvSpPr/>
            <p:nvPr/>
          </p:nvSpPr>
          <p:spPr>
            <a:xfrm>
              <a:off x="5461988" y="3578710"/>
              <a:ext cx="125870" cy="37315"/>
            </a:xfrm>
            <a:custGeom>
              <a:avLst/>
              <a:gdLst>
                <a:gd name="connsiteX0" fmla="*/ 125870 w 125870"/>
                <a:gd name="connsiteY0" fmla="*/ 0 h 37315"/>
                <a:gd name="connsiteX1" fmla="*/ 0 w 12587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7315">
                  <a:moveTo>
                    <a:pt x="125870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0" name="Freeform: Shape 849">
              <a:extLst>
                <a:ext uri="{FF2B5EF4-FFF2-40B4-BE49-F238E27FC236}">
                  <a16:creationId xmlns:a16="http://schemas.microsoft.com/office/drawing/2014/main" id="{A921E1FF-D664-4E10-B9EA-294842D7BFB6}"/>
                </a:ext>
              </a:extLst>
            </p:cNvPr>
            <p:cNvSpPr/>
            <p:nvPr/>
          </p:nvSpPr>
          <p:spPr>
            <a:xfrm>
              <a:off x="4093288" y="4616026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1" name="Freeform: Shape 850">
              <a:extLst>
                <a:ext uri="{FF2B5EF4-FFF2-40B4-BE49-F238E27FC236}">
                  <a16:creationId xmlns:a16="http://schemas.microsoft.com/office/drawing/2014/main" id="{2E2DB411-82BC-4BE0-B96F-6E754C30A6AB}"/>
                </a:ext>
              </a:extLst>
            </p:cNvPr>
            <p:cNvSpPr/>
            <p:nvPr/>
          </p:nvSpPr>
          <p:spPr>
            <a:xfrm>
              <a:off x="4318017" y="1918448"/>
              <a:ext cx="96073" cy="123085"/>
            </a:xfrm>
            <a:custGeom>
              <a:avLst/>
              <a:gdLst>
                <a:gd name="connsiteX0" fmla="*/ 96073 w 96073"/>
                <a:gd name="connsiteY0" fmla="*/ 0 h 123085"/>
                <a:gd name="connsiteX1" fmla="*/ 0 w 96073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3085">
                  <a:moveTo>
                    <a:pt x="96073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2" name="Freeform: Shape 851">
              <a:extLst>
                <a:ext uri="{FF2B5EF4-FFF2-40B4-BE49-F238E27FC236}">
                  <a16:creationId xmlns:a16="http://schemas.microsoft.com/office/drawing/2014/main" id="{E512AF96-B12E-4CB7-AD49-778707D1B03B}"/>
                </a:ext>
              </a:extLst>
            </p:cNvPr>
            <p:cNvSpPr/>
            <p:nvPr/>
          </p:nvSpPr>
          <p:spPr>
            <a:xfrm>
              <a:off x="6603731" y="5578432"/>
              <a:ext cx="125591" cy="64049"/>
            </a:xfrm>
            <a:custGeom>
              <a:avLst/>
              <a:gdLst>
                <a:gd name="connsiteX0" fmla="*/ 125592 w 125591"/>
                <a:gd name="connsiteY0" fmla="*/ 0 h 64049"/>
                <a:gd name="connsiteX1" fmla="*/ 0 w 125591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4049">
                  <a:moveTo>
                    <a:pt x="125592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3" name="Freeform: Shape 852">
              <a:extLst>
                <a:ext uri="{FF2B5EF4-FFF2-40B4-BE49-F238E27FC236}">
                  <a16:creationId xmlns:a16="http://schemas.microsoft.com/office/drawing/2014/main" id="{5C49334D-3657-4AC8-BFC9-22F23A5F93F4}"/>
                </a:ext>
              </a:extLst>
            </p:cNvPr>
            <p:cNvSpPr/>
            <p:nvPr/>
          </p:nvSpPr>
          <p:spPr>
            <a:xfrm>
              <a:off x="5232247" y="3584001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4" name="Freeform: Shape 853">
              <a:extLst>
                <a:ext uri="{FF2B5EF4-FFF2-40B4-BE49-F238E27FC236}">
                  <a16:creationId xmlns:a16="http://schemas.microsoft.com/office/drawing/2014/main" id="{A1FBD13E-94EF-47A7-9E69-5D150B5CE50D}"/>
                </a:ext>
              </a:extLst>
            </p:cNvPr>
            <p:cNvSpPr/>
            <p:nvPr/>
          </p:nvSpPr>
          <p:spPr>
            <a:xfrm>
              <a:off x="2040100" y="1915942"/>
              <a:ext cx="82985" cy="125591"/>
            </a:xfrm>
            <a:custGeom>
              <a:avLst/>
              <a:gdLst>
                <a:gd name="connsiteX0" fmla="*/ 82985 w 82985"/>
                <a:gd name="connsiteY0" fmla="*/ 0 h 125591"/>
                <a:gd name="connsiteX1" fmla="*/ 0 w 82985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125591">
                  <a:moveTo>
                    <a:pt x="82985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5" name="Freeform: Shape 854">
              <a:extLst>
                <a:ext uri="{FF2B5EF4-FFF2-40B4-BE49-F238E27FC236}">
                  <a16:creationId xmlns:a16="http://schemas.microsoft.com/office/drawing/2014/main" id="{EB611920-493D-43A1-8466-F2ADEEB6E2B2}"/>
                </a:ext>
              </a:extLst>
            </p:cNvPr>
            <p:cNvSpPr/>
            <p:nvPr/>
          </p:nvSpPr>
          <p:spPr>
            <a:xfrm>
              <a:off x="9341130" y="4698732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6" name="Freeform: Shape 855">
              <a:extLst>
                <a:ext uri="{FF2B5EF4-FFF2-40B4-BE49-F238E27FC236}">
                  <a16:creationId xmlns:a16="http://schemas.microsoft.com/office/drawing/2014/main" id="{7F1248E0-EE8C-46D1-A335-B877717BD608}"/>
                </a:ext>
              </a:extLst>
            </p:cNvPr>
            <p:cNvSpPr/>
            <p:nvPr/>
          </p:nvSpPr>
          <p:spPr>
            <a:xfrm>
              <a:off x="4780283" y="854399"/>
              <a:ext cx="125870" cy="61542"/>
            </a:xfrm>
            <a:custGeom>
              <a:avLst/>
              <a:gdLst>
                <a:gd name="connsiteX0" fmla="*/ 125870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0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7" name="Freeform: Shape 856">
              <a:extLst>
                <a:ext uri="{FF2B5EF4-FFF2-40B4-BE49-F238E27FC236}">
                  <a16:creationId xmlns:a16="http://schemas.microsoft.com/office/drawing/2014/main" id="{93F901E2-9744-4CE9-B312-382A3E431B3D}"/>
                </a:ext>
              </a:extLst>
            </p:cNvPr>
            <p:cNvSpPr/>
            <p:nvPr/>
          </p:nvSpPr>
          <p:spPr>
            <a:xfrm>
              <a:off x="2954608" y="5340336"/>
              <a:ext cx="122807" cy="80200"/>
            </a:xfrm>
            <a:custGeom>
              <a:avLst/>
              <a:gdLst>
                <a:gd name="connsiteX0" fmla="*/ 122807 w 122807"/>
                <a:gd name="connsiteY0" fmla="*/ 0 h 80200"/>
                <a:gd name="connsiteX1" fmla="*/ 0 w 122807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200">
                  <a:moveTo>
                    <a:pt x="122807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8" name="Freeform: Shape 857">
              <a:extLst>
                <a:ext uri="{FF2B5EF4-FFF2-40B4-BE49-F238E27FC236}">
                  <a16:creationId xmlns:a16="http://schemas.microsoft.com/office/drawing/2014/main" id="{E3D2DC47-4BD8-4F9D-9766-59B68565E347}"/>
                </a:ext>
              </a:extLst>
            </p:cNvPr>
            <p:cNvSpPr/>
            <p:nvPr/>
          </p:nvSpPr>
          <p:spPr>
            <a:xfrm>
              <a:off x="3868838" y="3362057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59" name="Freeform: Shape 858">
              <a:extLst>
                <a:ext uri="{FF2B5EF4-FFF2-40B4-BE49-F238E27FC236}">
                  <a16:creationId xmlns:a16="http://schemas.microsoft.com/office/drawing/2014/main" id="{9F337835-4460-4594-9746-0E4AA7883896}"/>
                </a:ext>
              </a:extLst>
            </p:cNvPr>
            <p:cNvSpPr/>
            <p:nvPr/>
          </p:nvSpPr>
          <p:spPr>
            <a:xfrm>
              <a:off x="4093288" y="3359551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0" name="Freeform: Shape 859">
              <a:extLst>
                <a:ext uri="{FF2B5EF4-FFF2-40B4-BE49-F238E27FC236}">
                  <a16:creationId xmlns:a16="http://schemas.microsoft.com/office/drawing/2014/main" id="{526E07F3-0EE5-4D19-A57A-6249D9599C31}"/>
                </a:ext>
              </a:extLst>
            </p:cNvPr>
            <p:cNvSpPr/>
            <p:nvPr/>
          </p:nvSpPr>
          <p:spPr>
            <a:xfrm>
              <a:off x="9798384" y="3356766"/>
              <a:ext cx="122807" cy="34809"/>
            </a:xfrm>
            <a:custGeom>
              <a:avLst/>
              <a:gdLst>
                <a:gd name="connsiteX0" fmla="*/ 122807 w 122807"/>
                <a:gd name="connsiteY0" fmla="*/ 0 h 34809"/>
                <a:gd name="connsiteX1" fmla="*/ 0 w 12280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4809">
                  <a:moveTo>
                    <a:pt x="122807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1" name="Freeform: Shape 860">
              <a:extLst>
                <a:ext uri="{FF2B5EF4-FFF2-40B4-BE49-F238E27FC236}">
                  <a16:creationId xmlns:a16="http://schemas.microsoft.com/office/drawing/2014/main" id="{D8A918DF-0655-43CE-B1B5-019E01DD9ED2}"/>
                </a:ext>
              </a:extLst>
            </p:cNvPr>
            <p:cNvSpPr/>
            <p:nvPr/>
          </p:nvSpPr>
          <p:spPr>
            <a:xfrm>
              <a:off x="6146477" y="2634962"/>
              <a:ext cx="123085" cy="85491"/>
            </a:xfrm>
            <a:custGeom>
              <a:avLst/>
              <a:gdLst>
                <a:gd name="connsiteX0" fmla="*/ 123085 w 123085"/>
                <a:gd name="connsiteY0" fmla="*/ 0 h 85491"/>
                <a:gd name="connsiteX1" fmla="*/ 0 w 12308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2" name="Freeform: Shape 861">
              <a:extLst>
                <a:ext uri="{FF2B5EF4-FFF2-40B4-BE49-F238E27FC236}">
                  <a16:creationId xmlns:a16="http://schemas.microsoft.com/office/drawing/2014/main" id="{E21989F4-8372-49C4-8E39-02BC489DC1A1}"/>
                </a:ext>
              </a:extLst>
            </p:cNvPr>
            <p:cNvSpPr/>
            <p:nvPr/>
          </p:nvSpPr>
          <p:spPr>
            <a:xfrm>
              <a:off x="6603731" y="5356488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3" name="Freeform: Shape 862">
              <a:extLst>
                <a:ext uri="{FF2B5EF4-FFF2-40B4-BE49-F238E27FC236}">
                  <a16:creationId xmlns:a16="http://schemas.microsoft.com/office/drawing/2014/main" id="{C772FCFE-E2A0-4302-BDB8-2A70576000E4}"/>
                </a:ext>
              </a:extLst>
            </p:cNvPr>
            <p:cNvSpPr/>
            <p:nvPr/>
          </p:nvSpPr>
          <p:spPr>
            <a:xfrm>
              <a:off x="2954608" y="5121177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4" name="Freeform: Shape 863">
              <a:extLst>
                <a:ext uri="{FF2B5EF4-FFF2-40B4-BE49-F238E27FC236}">
                  <a16:creationId xmlns:a16="http://schemas.microsoft.com/office/drawing/2014/main" id="{4F91097D-FA81-48EB-92DE-2F019694136F}"/>
                </a:ext>
              </a:extLst>
            </p:cNvPr>
            <p:cNvSpPr/>
            <p:nvPr/>
          </p:nvSpPr>
          <p:spPr>
            <a:xfrm>
              <a:off x="449456" y="865259"/>
              <a:ext cx="125870" cy="50682"/>
            </a:xfrm>
            <a:custGeom>
              <a:avLst/>
              <a:gdLst>
                <a:gd name="connsiteX0" fmla="*/ 125870 w 125870"/>
                <a:gd name="connsiteY0" fmla="*/ 0 h 50682"/>
                <a:gd name="connsiteX1" fmla="*/ 0 w 12587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0682">
                  <a:moveTo>
                    <a:pt x="125870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5" name="Freeform: Shape 864">
              <a:extLst>
                <a:ext uri="{FF2B5EF4-FFF2-40B4-BE49-F238E27FC236}">
                  <a16:creationId xmlns:a16="http://schemas.microsoft.com/office/drawing/2014/main" id="{FA6217E2-BEFC-4AF1-8750-9E7DB1444EF8}"/>
                </a:ext>
              </a:extLst>
            </p:cNvPr>
            <p:cNvSpPr/>
            <p:nvPr/>
          </p:nvSpPr>
          <p:spPr>
            <a:xfrm>
              <a:off x="9798384" y="4273781"/>
              <a:ext cx="122807" cy="23948"/>
            </a:xfrm>
            <a:custGeom>
              <a:avLst/>
              <a:gdLst>
                <a:gd name="connsiteX0" fmla="*/ 122807 w 122807"/>
                <a:gd name="connsiteY0" fmla="*/ 0 h 23948"/>
                <a:gd name="connsiteX1" fmla="*/ 0 w 12280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3948">
                  <a:moveTo>
                    <a:pt x="122807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6" name="Freeform: Shape 865">
              <a:extLst>
                <a:ext uri="{FF2B5EF4-FFF2-40B4-BE49-F238E27FC236}">
                  <a16:creationId xmlns:a16="http://schemas.microsoft.com/office/drawing/2014/main" id="{5AEAC933-BA11-4EA1-9050-CBF231712192}"/>
                </a:ext>
              </a:extLst>
            </p:cNvPr>
            <p:cNvSpPr/>
            <p:nvPr/>
          </p:nvSpPr>
          <p:spPr>
            <a:xfrm>
              <a:off x="8202171" y="5131759"/>
              <a:ext cx="125870" cy="61542"/>
            </a:xfrm>
            <a:custGeom>
              <a:avLst/>
              <a:gdLst>
                <a:gd name="connsiteX0" fmla="*/ 125871 w 125870"/>
                <a:gd name="connsiteY0" fmla="*/ 0 h 61542"/>
                <a:gd name="connsiteX1" fmla="*/ 0 w 12587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1542">
                  <a:moveTo>
                    <a:pt x="12587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7" name="Freeform: Shape 866">
              <a:extLst>
                <a:ext uri="{FF2B5EF4-FFF2-40B4-BE49-F238E27FC236}">
                  <a16:creationId xmlns:a16="http://schemas.microsoft.com/office/drawing/2014/main" id="{13E0A3B0-96A8-42E9-8FE3-3FC204F7E33C}"/>
                </a:ext>
              </a:extLst>
            </p:cNvPr>
            <p:cNvSpPr/>
            <p:nvPr/>
          </p:nvSpPr>
          <p:spPr>
            <a:xfrm>
              <a:off x="5010303" y="870550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8" name="Freeform: Shape 867">
              <a:extLst>
                <a:ext uri="{FF2B5EF4-FFF2-40B4-BE49-F238E27FC236}">
                  <a16:creationId xmlns:a16="http://schemas.microsoft.com/office/drawing/2014/main" id="{9D16CA3C-43B2-47DD-ADD8-1D5C3469C627}"/>
                </a:ext>
              </a:extLst>
            </p:cNvPr>
            <p:cNvSpPr/>
            <p:nvPr/>
          </p:nvSpPr>
          <p:spPr>
            <a:xfrm>
              <a:off x="2727373" y="5364564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69" name="Freeform: Shape 868">
              <a:extLst>
                <a:ext uri="{FF2B5EF4-FFF2-40B4-BE49-F238E27FC236}">
                  <a16:creationId xmlns:a16="http://schemas.microsoft.com/office/drawing/2014/main" id="{79CC37D1-052B-4466-9035-83E302C6687D}"/>
                </a:ext>
              </a:extLst>
            </p:cNvPr>
            <p:cNvSpPr/>
            <p:nvPr/>
          </p:nvSpPr>
          <p:spPr>
            <a:xfrm>
              <a:off x="7972430" y="5134544"/>
              <a:ext cx="125591" cy="58758"/>
            </a:xfrm>
            <a:custGeom>
              <a:avLst/>
              <a:gdLst>
                <a:gd name="connsiteX0" fmla="*/ 125592 w 125591"/>
                <a:gd name="connsiteY0" fmla="*/ 0 h 58758"/>
                <a:gd name="connsiteX1" fmla="*/ 0 w 125591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8758">
                  <a:moveTo>
                    <a:pt x="125592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0" name="Freeform: Shape 869">
              <a:extLst>
                <a:ext uri="{FF2B5EF4-FFF2-40B4-BE49-F238E27FC236}">
                  <a16:creationId xmlns:a16="http://schemas.microsoft.com/office/drawing/2014/main" id="{6B28B962-F7A7-486B-A696-1E3A252D8F77}"/>
                </a:ext>
              </a:extLst>
            </p:cNvPr>
            <p:cNvSpPr/>
            <p:nvPr/>
          </p:nvSpPr>
          <p:spPr>
            <a:xfrm>
              <a:off x="7285435" y="3044040"/>
              <a:ext cx="87997" cy="125591"/>
            </a:xfrm>
            <a:custGeom>
              <a:avLst/>
              <a:gdLst>
                <a:gd name="connsiteX0" fmla="*/ 87998 w 87997"/>
                <a:gd name="connsiteY0" fmla="*/ 0 h 125591"/>
                <a:gd name="connsiteX1" fmla="*/ 0 w 8799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5591">
                  <a:moveTo>
                    <a:pt x="87998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1" name="Freeform: Shape 870">
              <a:extLst>
                <a:ext uri="{FF2B5EF4-FFF2-40B4-BE49-F238E27FC236}">
                  <a16:creationId xmlns:a16="http://schemas.microsoft.com/office/drawing/2014/main" id="{03D87656-DDE6-4A4A-81E7-2D42EFB2BE02}"/>
                </a:ext>
              </a:extLst>
            </p:cNvPr>
            <p:cNvSpPr/>
            <p:nvPr/>
          </p:nvSpPr>
          <p:spPr>
            <a:xfrm>
              <a:off x="5464772" y="3338108"/>
              <a:ext cx="125591" cy="53467"/>
            </a:xfrm>
            <a:custGeom>
              <a:avLst/>
              <a:gdLst>
                <a:gd name="connsiteX0" fmla="*/ 125592 w 125591"/>
                <a:gd name="connsiteY0" fmla="*/ 0 h 53467"/>
                <a:gd name="connsiteX1" fmla="*/ 0 w 125591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3467">
                  <a:moveTo>
                    <a:pt x="125592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2" name="Freeform: Shape 871">
              <a:extLst>
                <a:ext uri="{FF2B5EF4-FFF2-40B4-BE49-F238E27FC236}">
                  <a16:creationId xmlns:a16="http://schemas.microsoft.com/office/drawing/2014/main" id="{0CA97871-375C-4C28-9720-77FD2F3AFA70}"/>
                </a:ext>
              </a:extLst>
            </p:cNvPr>
            <p:cNvSpPr/>
            <p:nvPr/>
          </p:nvSpPr>
          <p:spPr>
            <a:xfrm>
              <a:off x="2724589" y="2140392"/>
              <a:ext cx="88276" cy="125591"/>
            </a:xfrm>
            <a:custGeom>
              <a:avLst/>
              <a:gdLst>
                <a:gd name="connsiteX0" fmla="*/ 88276 w 88276"/>
                <a:gd name="connsiteY0" fmla="*/ 0 h 125591"/>
                <a:gd name="connsiteX1" fmla="*/ 0 w 8827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5591">
                  <a:moveTo>
                    <a:pt x="88276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3" name="Freeform: Shape 872">
              <a:extLst>
                <a:ext uri="{FF2B5EF4-FFF2-40B4-BE49-F238E27FC236}">
                  <a16:creationId xmlns:a16="http://schemas.microsoft.com/office/drawing/2014/main" id="{95B74D89-7F40-457A-9B16-9C46E6FD42B0}"/>
                </a:ext>
              </a:extLst>
            </p:cNvPr>
            <p:cNvSpPr/>
            <p:nvPr/>
          </p:nvSpPr>
          <p:spPr>
            <a:xfrm>
              <a:off x="9571149" y="3330033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4" name="Freeform: Shape 873">
              <a:extLst>
                <a:ext uri="{FF2B5EF4-FFF2-40B4-BE49-F238E27FC236}">
                  <a16:creationId xmlns:a16="http://schemas.microsoft.com/office/drawing/2014/main" id="{D21ACDDD-B4BB-4197-B17D-17A2CE7EB8E0}"/>
                </a:ext>
              </a:extLst>
            </p:cNvPr>
            <p:cNvSpPr/>
            <p:nvPr/>
          </p:nvSpPr>
          <p:spPr>
            <a:xfrm>
              <a:off x="5916457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5" name="Freeform: Shape 874">
              <a:extLst>
                <a:ext uri="{FF2B5EF4-FFF2-40B4-BE49-F238E27FC236}">
                  <a16:creationId xmlns:a16="http://schemas.microsoft.com/office/drawing/2014/main" id="{DC7B1BB9-5673-4755-B097-F2590DD7FEC2}"/>
                </a:ext>
              </a:extLst>
            </p:cNvPr>
            <p:cNvSpPr/>
            <p:nvPr/>
          </p:nvSpPr>
          <p:spPr>
            <a:xfrm>
              <a:off x="7745196" y="5388512"/>
              <a:ext cx="122807" cy="29518"/>
            </a:xfrm>
            <a:custGeom>
              <a:avLst/>
              <a:gdLst>
                <a:gd name="connsiteX0" fmla="*/ 122807 w 122807"/>
                <a:gd name="connsiteY0" fmla="*/ 0 h 29518"/>
                <a:gd name="connsiteX1" fmla="*/ 0 w 12280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518">
                  <a:moveTo>
                    <a:pt x="122807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6" name="Freeform: Shape 875">
              <a:extLst>
                <a:ext uri="{FF2B5EF4-FFF2-40B4-BE49-F238E27FC236}">
                  <a16:creationId xmlns:a16="http://schemas.microsoft.com/office/drawing/2014/main" id="{9EEFF296-F535-49CB-99D7-839A13981BB4}"/>
                </a:ext>
              </a:extLst>
            </p:cNvPr>
            <p:cNvSpPr/>
            <p:nvPr/>
          </p:nvSpPr>
          <p:spPr>
            <a:xfrm>
              <a:off x="9792815" y="3808451"/>
              <a:ext cx="125870" cy="34809"/>
            </a:xfrm>
            <a:custGeom>
              <a:avLst/>
              <a:gdLst>
                <a:gd name="connsiteX0" fmla="*/ 125870 w 125870"/>
                <a:gd name="connsiteY0" fmla="*/ 0 h 34809"/>
                <a:gd name="connsiteX1" fmla="*/ 0 w 12587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34809">
                  <a:moveTo>
                    <a:pt x="125870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7" name="Freeform: Shape 876">
              <a:extLst>
                <a:ext uri="{FF2B5EF4-FFF2-40B4-BE49-F238E27FC236}">
                  <a16:creationId xmlns:a16="http://schemas.microsoft.com/office/drawing/2014/main" id="{8E3B17B5-83BA-4E69-B019-6B43F66C8901}"/>
                </a:ext>
              </a:extLst>
            </p:cNvPr>
            <p:cNvSpPr/>
            <p:nvPr/>
          </p:nvSpPr>
          <p:spPr>
            <a:xfrm>
              <a:off x="5010303" y="3784502"/>
              <a:ext cx="125591" cy="56251"/>
            </a:xfrm>
            <a:custGeom>
              <a:avLst/>
              <a:gdLst>
                <a:gd name="connsiteX0" fmla="*/ 125592 w 125591"/>
                <a:gd name="connsiteY0" fmla="*/ 0 h 56251"/>
                <a:gd name="connsiteX1" fmla="*/ 0 w 125591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6251">
                  <a:moveTo>
                    <a:pt x="125592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8" name="Freeform: Shape 877">
              <a:extLst>
                <a:ext uri="{FF2B5EF4-FFF2-40B4-BE49-F238E27FC236}">
                  <a16:creationId xmlns:a16="http://schemas.microsoft.com/office/drawing/2014/main" id="{DCF523F6-9736-4683-B89D-C96C73EF9C32}"/>
                </a:ext>
              </a:extLst>
            </p:cNvPr>
            <p:cNvSpPr/>
            <p:nvPr/>
          </p:nvSpPr>
          <p:spPr>
            <a:xfrm>
              <a:off x="6600946" y="4247048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79" name="Freeform: Shape 878">
              <a:extLst>
                <a:ext uri="{FF2B5EF4-FFF2-40B4-BE49-F238E27FC236}">
                  <a16:creationId xmlns:a16="http://schemas.microsoft.com/office/drawing/2014/main" id="{60565DBF-95E7-45B2-9D54-0AA53067981F}"/>
                </a:ext>
              </a:extLst>
            </p:cNvPr>
            <p:cNvSpPr/>
            <p:nvPr/>
          </p:nvSpPr>
          <p:spPr>
            <a:xfrm>
              <a:off x="3409078" y="2140392"/>
              <a:ext cx="82706" cy="125591"/>
            </a:xfrm>
            <a:custGeom>
              <a:avLst/>
              <a:gdLst>
                <a:gd name="connsiteX0" fmla="*/ 82707 w 82706"/>
                <a:gd name="connsiteY0" fmla="*/ 0 h 125591"/>
                <a:gd name="connsiteX1" fmla="*/ 0 w 82706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125591">
                  <a:moveTo>
                    <a:pt x="8270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0" name="Freeform: Shape 879">
              <a:extLst>
                <a:ext uri="{FF2B5EF4-FFF2-40B4-BE49-F238E27FC236}">
                  <a16:creationId xmlns:a16="http://schemas.microsoft.com/office/drawing/2014/main" id="{5AA09084-5484-4891-9EE7-53CF55920A6D}"/>
                </a:ext>
              </a:extLst>
            </p:cNvPr>
            <p:cNvSpPr/>
            <p:nvPr/>
          </p:nvSpPr>
          <p:spPr>
            <a:xfrm>
              <a:off x="2727373" y="5145126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1" name="Freeform: Shape 880">
              <a:extLst>
                <a:ext uri="{FF2B5EF4-FFF2-40B4-BE49-F238E27FC236}">
                  <a16:creationId xmlns:a16="http://schemas.microsoft.com/office/drawing/2014/main" id="{A755F5FF-C3DE-4EED-88D1-92F812D58AC3}"/>
                </a:ext>
              </a:extLst>
            </p:cNvPr>
            <p:cNvSpPr/>
            <p:nvPr/>
          </p:nvSpPr>
          <p:spPr>
            <a:xfrm>
              <a:off x="6830966" y="2629671"/>
              <a:ext cx="117516" cy="90782"/>
            </a:xfrm>
            <a:custGeom>
              <a:avLst/>
              <a:gdLst>
                <a:gd name="connsiteX0" fmla="*/ 117516 w 117516"/>
                <a:gd name="connsiteY0" fmla="*/ 0 h 90782"/>
                <a:gd name="connsiteX1" fmla="*/ 0 w 117516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0782">
                  <a:moveTo>
                    <a:pt x="117516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2" name="Freeform: Shape 881">
              <a:extLst>
                <a:ext uri="{FF2B5EF4-FFF2-40B4-BE49-F238E27FC236}">
                  <a16:creationId xmlns:a16="http://schemas.microsoft.com/office/drawing/2014/main" id="{41DED8DC-CA31-46F3-ABD6-AE7C830C0A63}"/>
                </a:ext>
              </a:extLst>
            </p:cNvPr>
            <p:cNvSpPr/>
            <p:nvPr/>
          </p:nvSpPr>
          <p:spPr>
            <a:xfrm>
              <a:off x="7517961" y="5147911"/>
              <a:ext cx="125591" cy="45391"/>
            </a:xfrm>
            <a:custGeom>
              <a:avLst/>
              <a:gdLst>
                <a:gd name="connsiteX0" fmla="*/ 125592 w 125591"/>
                <a:gd name="connsiteY0" fmla="*/ 0 h 45391"/>
                <a:gd name="connsiteX1" fmla="*/ 0 w 12559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5391">
                  <a:moveTo>
                    <a:pt x="125592" y="0"/>
                  </a:moveTo>
                  <a:lnTo>
                    <a:pt x="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3" name="Freeform: Shape 882">
              <a:extLst>
                <a:ext uri="{FF2B5EF4-FFF2-40B4-BE49-F238E27FC236}">
                  <a16:creationId xmlns:a16="http://schemas.microsoft.com/office/drawing/2014/main" id="{A0F9530F-3680-4934-8B10-2646A2447552}"/>
                </a:ext>
              </a:extLst>
            </p:cNvPr>
            <p:cNvSpPr/>
            <p:nvPr/>
          </p:nvSpPr>
          <p:spPr>
            <a:xfrm>
              <a:off x="4547758" y="3781717"/>
              <a:ext cx="125591" cy="61542"/>
            </a:xfrm>
            <a:custGeom>
              <a:avLst/>
              <a:gdLst>
                <a:gd name="connsiteX0" fmla="*/ 125592 w 125591"/>
                <a:gd name="connsiteY0" fmla="*/ 0 h 61542"/>
                <a:gd name="connsiteX1" fmla="*/ 0 w 125591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542">
                  <a:moveTo>
                    <a:pt x="125592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4" name="Freeform: Shape 883">
              <a:extLst>
                <a:ext uri="{FF2B5EF4-FFF2-40B4-BE49-F238E27FC236}">
                  <a16:creationId xmlns:a16="http://schemas.microsoft.com/office/drawing/2014/main" id="{1A3E9101-0628-4C4B-838D-C0678F9D8C0D}"/>
                </a:ext>
              </a:extLst>
            </p:cNvPr>
            <p:cNvSpPr/>
            <p:nvPr/>
          </p:nvSpPr>
          <p:spPr>
            <a:xfrm>
              <a:off x="5692007" y="1116443"/>
              <a:ext cx="123085" cy="24227"/>
            </a:xfrm>
            <a:custGeom>
              <a:avLst/>
              <a:gdLst>
                <a:gd name="connsiteX0" fmla="*/ 123085 w 123085"/>
                <a:gd name="connsiteY0" fmla="*/ 0 h 24227"/>
                <a:gd name="connsiteX1" fmla="*/ 0 w 123085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4227">
                  <a:moveTo>
                    <a:pt x="123085" y="0"/>
                  </a:moveTo>
                  <a:lnTo>
                    <a:pt x="0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5" name="Freeform: Shape 884">
              <a:extLst>
                <a:ext uri="{FF2B5EF4-FFF2-40B4-BE49-F238E27FC236}">
                  <a16:creationId xmlns:a16="http://schemas.microsoft.com/office/drawing/2014/main" id="{4817DEE7-D864-481C-9C04-F0A0A2674DB4}"/>
                </a:ext>
              </a:extLst>
            </p:cNvPr>
            <p:cNvSpPr/>
            <p:nvPr/>
          </p:nvSpPr>
          <p:spPr>
            <a:xfrm>
              <a:off x="5232247" y="1092494"/>
              <a:ext cx="125591" cy="50682"/>
            </a:xfrm>
            <a:custGeom>
              <a:avLst/>
              <a:gdLst>
                <a:gd name="connsiteX0" fmla="*/ 125592 w 125591"/>
                <a:gd name="connsiteY0" fmla="*/ 0 h 50682"/>
                <a:gd name="connsiteX1" fmla="*/ 0 w 125591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0682">
                  <a:moveTo>
                    <a:pt x="125592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6" name="Freeform: Shape 885">
              <a:extLst>
                <a:ext uri="{FF2B5EF4-FFF2-40B4-BE49-F238E27FC236}">
                  <a16:creationId xmlns:a16="http://schemas.microsoft.com/office/drawing/2014/main" id="{221A54EB-D5B8-4ADD-BC34-AB9A636966EF}"/>
                </a:ext>
              </a:extLst>
            </p:cNvPr>
            <p:cNvSpPr/>
            <p:nvPr/>
          </p:nvSpPr>
          <p:spPr>
            <a:xfrm>
              <a:off x="7515176" y="2404942"/>
              <a:ext cx="117794" cy="91060"/>
            </a:xfrm>
            <a:custGeom>
              <a:avLst/>
              <a:gdLst>
                <a:gd name="connsiteX0" fmla="*/ 117794 w 117794"/>
                <a:gd name="connsiteY0" fmla="*/ 0 h 91060"/>
                <a:gd name="connsiteX1" fmla="*/ 0 w 11779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1060">
                  <a:moveTo>
                    <a:pt x="11779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7" name="Freeform: Shape 886">
              <a:extLst>
                <a:ext uri="{FF2B5EF4-FFF2-40B4-BE49-F238E27FC236}">
                  <a16:creationId xmlns:a16="http://schemas.microsoft.com/office/drawing/2014/main" id="{7A4289FC-E220-4952-AEA6-697745269482}"/>
                </a:ext>
              </a:extLst>
            </p:cNvPr>
            <p:cNvSpPr/>
            <p:nvPr/>
          </p:nvSpPr>
          <p:spPr>
            <a:xfrm>
              <a:off x="2494569" y="2145683"/>
              <a:ext cx="93567" cy="125591"/>
            </a:xfrm>
            <a:custGeom>
              <a:avLst/>
              <a:gdLst>
                <a:gd name="connsiteX0" fmla="*/ 93567 w 93567"/>
                <a:gd name="connsiteY0" fmla="*/ 0 h 125591"/>
                <a:gd name="connsiteX1" fmla="*/ 0 w 93567"/>
                <a:gd name="connsiteY1" fmla="*/ 125592 h 12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5591">
                  <a:moveTo>
                    <a:pt x="93567" y="0"/>
                  </a:moveTo>
                  <a:lnTo>
                    <a:pt x="0" y="1255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8" name="Freeform: Shape 887">
              <a:extLst>
                <a:ext uri="{FF2B5EF4-FFF2-40B4-BE49-F238E27FC236}">
                  <a16:creationId xmlns:a16="http://schemas.microsoft.com/office/drawing/2014/main" id="{B5457B24-9138-4B01-936F-93A39583390D}"/>
                </a:ext>
              </a:extLst>
            </p:cNvPr>
            <p:cNvSpPr/>
            <p:nvPr/>
          </p:nvSpPr>
          <p:spPr>
            <a:xfrm>
              <a:off x="6146477" y="2859412"/>
              <a:ext cx="123085" cy="85769"/>
            </a:xfrm>
            <a:custGeom>
              <a:avLst/>
              <a:gdLst>
                <a:gd name="connsiteX0" fmla="*/ 123085 w 123085"/>
                <a:gd name="connsiteY0" fmla="*/ 0 h 85769"/>
                <a:gd name="connsiteX1" fmla="*/ 0 w 123085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769">
                  <a:moveTo>
                    <a:pt x="123085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89" name="Freeform: Shape 888">
              <a:extLst>
                <a:ext uri="{FF2B5EF4-FFF2-40B4-BE49-F238E27FC236}">
                  <a16:creationId xmlns:a16="http://schemas.microsoft.com/office/drawing/2014/main" id="{FB1D35B9-E790-426A-BCB2-4F49D8824014}"/>
                </a:ext>
              </a:extLst>
            </p:cNvPr>
            <p:cNvSpPr/>
            <p:nvPr/>
          </p:nvSpPr>
          <p:spPr>
            <a:xfrm>
              <a:off x="5916457" y="2410512"/>
              <a:ext cx="123085" cy="85491"/>
            </a:xfrm>
            <a:custGeom>
              <a:avLst/>
              <a:gdLst>
                <a:gd name="connsiteX0" fmla="*/ 123086 w 123085"/>
                <a:gd name="connsiteY0" fmla="*/ 0 h 85491"/>
                <a:gd name="connsiteX1" fmla="*/ 0 w 12308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5491">
                  <a:moveTo>
                    <a:pt x="12308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0" name="Freeform: Shape 889">
              <a:extLst>
                <a:ext uri="{FF2B5EF4-FFF2-40B4-BE49-F238E27FC236}">
                  <a16:creationId xmlns:a16="http://schemas.microsoft.com/office/drawing/2014/main" id="{ED8FB566-80CD-4EE2-B432-199E82377CFD}"/>
                </a:ext>
              </a:extLst>
            </p:cNvPr>
            <p:cNvSpPr/>
            <p:nvPr/>
          </p:nvSpPr>
          <p:spPr>
            <a:xfrm>
              <a:off x="5692007" y="1533597"/>
              <a:ext cx="123085" cy="55973"/>
            </a:xfrm>
            <a:custGeom>
              <a:avLst/>
              <a:gdLst>
                <a:gd name="connsiteX0" fmla="*/ 123085 w 123085"/>
                <a:gd name="connsiteY0" fmla="*/ 0 h 55973"/>
                <a:gd name="connsiteX1" fmla="*/ 0 w 123085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5973">
                  <a:moveTo>
                    <a:pt x="123085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1" name="Freeform: Shape 890">
              <a:extLst>
                <a:ext uri="{FF2B5EF4-FFF2-40B4-BE49-F238E27FC236}">
                  <a16:creationId xmlns:a16="http://schemas.microsoft.com/office/drawing/2014/main" id="{1BEF4F94-3765-48AB-9249-4FC34BEB6EF2}"/>
                </a:ext>
              </a:extLst>
            </p:cNvPr>
            <p:cNvSpPr/>
            <p:nvPr/>
          </p:nvSpPr>
          <p:spPr>
            <a:xfrm>
              <a:off x="6830966" y="5599596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2" name="Freeform: Shape 891">
              <a:extLst>
                <a:ext uri="{FF2B5EF4-FFF2-40B4-BE49-F238E27FC236}">
                  <a16:creationId xmlns:a16="http://schemas.microsoft.com/office/drawing/2014/main" id="{2AFFD86E-15C3-4AB8-9516-2DC27A63654D}"/>
                </a:ext>
              </a:extLst>
            </p:cNvPr>
            <p:cNvSpPr/>
            <p:nvPr/>
          </p:nvSpPr>
          <p:spPr>
            <a:xfrm>
              <a:off x="4325814" y="3784502"/>
              <a:ext cx="125870" cy="56251"/>
            </a:xfrm>
            <a:custGeom>
              <a:avLst/>
              <a:gdLst>
                <a:gd name="connsiteX0" fmla="*/ 125870 w 125870"/>
                <a:gd name="connsiteY0" fmla="*/ 0 h 56251"/>
                <a:gd name="connsiteX1" fmla="*/ 0 w 12587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56251">
                  <a:moveTo>
                    <a:pt x="12587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3" name="Freeform: Shape 892">
              <a:extLst>
                <a:ext uri="{FF2B5EF4-FFF2-40B4-BE49-F238E27FC236}">
                  <a16:creationId xmlns:a16="http://schemas.microsoft.com/office/drawing/2014/main" id="{B47B92D0-A909-4F83-8761-B342BCF422A7}"/>
                </a:ext>
              </a:extLst>
            </p:cNvPr>
            <p:cNvSpPr/>
            <p:nvPr/>
          </p:nvSpPr>
          <p:spPr>
            <a:xfrm>
              <a:off x="4777777" y="3781717"/>
              <a:ext cx="125591" cy="59036"/>
            </a:xfrm>
            <a:custGeom>
              <a:avLst/>
              <a:gdLst>
                <a:gd name="connsiteX0" fmla="*/ 125592 w 125591"/>
                <a:gd name="connsiteY0" fmla="*/ 0 h 59036"/>
                <a:gd name="connsiteX1" fmla="*/ 0 w 125591"/>
                <a:gd name="connsiteY1" fmla="*/ 59036 h 59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9036">
                  <a:moveTo>
                    <a:pt x="125592" y="0"/>
                  </a:moveTo>
                  <a:lnTo>
                    <a:pt x="0" y="590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4" name="Freeform: Shape 893">
              <a:extLst>
                <a:ext uri="{FF2B5EF4-FFF2-40B4-BE49-F238E27FC236}">
                  <a16:creationId xmlns:a16="http://schemas.microsoft.com/office/drawing/2014/main" id="{6025C2F2-CBB8-4755-8ED0-4B7E3D6993D4}"/>
                </a:ext>
              </a:extLst>
            </p:cNvPr>
            <p:cNvSpPr/>
            <p:nvPr/>
          </p:nvSpPr>
          <p:spPr>
            <a:xfrm>
              <a:off x="901420" y="1766123"/>
              <a:ext cx="125591" cy="48175"/>
            </a:xfrm>
            <a:custGeom>
              <a:avLst/>
              <a:gdLst>
                <a:gd name="connsiteX0" fmla="*/ 125592 w 125591"/>
                <a:gd name="connsiteY0" fmla="*/ 0 h 48175"/>
                <a:gd name="connsiteX1" fmla="*/ 0 w 125591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8175">
                  <a:moveTo>
                    <a:pt x="125592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5" name="Freeform: Shape 894">
              <a:extLst>
                <a:ext uri="{FF2B5EF4-FFF2-40B4-BE49-F238E27FC236}">
                  <a16:creationId xmlns:a16="http://schemas.microsoft.com/office/drawing/2014/main" id="{F5B19892-AF45-4A0B-8AEB-7D9BF0673C7B}"/>
                </a:ext>
              </a:extLst>
            </p:cNvPr>
            <p:cNvSpPr/>
            <p:nvPr/>
          </p:nvSpPr>
          <p:spPr>
            <a:xfrm>
              <a:off x="5686716" y="1749971"/>
              <a:ext cx="125591" cy="66833"/>
            </a:xfrm>
            <a:custGeom>
              <a:avLst/>
              <a:gdLst>
                <a:gd name="connsiteX0" fmla="*/ 125592 w 125591"/>
                <a:gd name="connsiteY0" fmla="*/ 0 h 66833"/>
                <a:gd name="connsiteX1" fmla="*/ 0 w 125591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6833">
                  <a:moveTo>
                    <a:pt x="125592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6" name="Freeform: Shape 895">
              <a:extLst>
                <a:ext uri="{FF2B5EF4-FFF2-40B4-BE49-F238E27FC236}">
                  <a16:creationId xmlns:a16="http://schemas.microsoft.com/office/drawing/2014/main" id="{DFE45B3A-D58F-48CA-A51B-CF80E03E25A2}"/>
                </a:ext>
              </a:extLst>
            </p:cNvPr>
            <p:cNvSpPr/>
            <p:nvPr/>
          </p:nvSpPr>
          <p:spPr>
            <a:xfrm>
              <a:off x="5692007" y="3097507"/>
              <a:ext cx="123085" cy="72124"/>
            </a:xfrm>
            <a:custGeom>
              <a:avLst/>
              <a:gdLst>
                <a:gd name="connsiteX0" fmla="*/ 123085 w 123085"/>
                <a:gd name="connsiteY0" fmla="*/ 0 h 72124"/>
                <a:gd name="connsiteX1" fmla="*/ 0 w 123085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2124">
                  <a:moveTo>
                    <a:pt x="123085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7" name="Freeform: Shape 896">
              <a:extLst>
                <a:ext uri="{FF2B5EF4-FFF2-40B4-BE49-F238E27FC236}">
                  <a16:creationId xmlns:a16="http://schemas.microsoft.com/office/drawing/2014/main" id="{CA440BDF-EA64-4FDE-BD17-33C697940FA3}"/>
                </a:ext>
              </a:extLst>
            </p:cNvPr>
            <p:cNvSpPr/>
            <p:nvPr/>
          </p:nvSpPr>
          <p:spPr>
            <a:xfrm>
              <a:off x="5916457" y="2185783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8" name="Freeform: Shape 897">
              <a:extLst>
                <a:ext uri="{FF2B5EF4-FFF2-40B4-BE49-F238E27FC236}">
                  <a16:creationId xmlns:a16="http://schemas.microsoft.com/office/drawing/2014/main" id="{E20ECDC3-E94F-47A2-9529-92A22B6DBFB9}"/>
                </a:ext>
              </a:extLst>
            </p:cNvPr>
            <p:cNvSpPr/>
            <p:nvPr/>
          </p:nvSpPr>
          <p:spPr>
            <a:xfrm>
              <a:off x="9341130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99" name="Freeform: Shape 898">
              <a:extLst>
                <a:ext uri="{FF2B5EF4-FFF2-40B4-BE49-F238E27FC236}">
                  <a16:creationId xmlns:a16="http://schemas.microsoft.com/office/drawing/2014/main" id="{018EED45-1089-4CF8-9FEC-2B2C17DC9250}"/>
                </a:ext>
              </a:extLst>
            </p:cNvPr>
            <p:cNvSpPr/>
            <p:nvPr/>
          </p:nvSpPr>
          <p:spPr>
            <a:xfrm>
              <a:off x="1588415" y="2461194"/>
              <a:ext cx="125591" cy="32024"/>
            </a:xfrm>
            <a:custGeom>
              <a:avLst/>
              <a:gdLst>
                <a:gd name="connsiteX0" fmla="*/ 125592 w 125591"/>
                <a:gd name="connsiteY0" fmla="*/ 0 h 32024"/>
                <a:gd name="connsiteX1" fmla="*/ 0 w 1255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2024">
                  <a:moveTo>
                    <a:pt x="125592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0" name="Freeform: Shape 899">
              <a:extLst>
                <a:ext uri="{FF2B5EF4-FFF2-40B4-BE49-F238E27FC236}">
                  <a16:creationId xmlns:a16="http://schemas.microsoft.com/office/drawing/2014/main" id="{5FF9380C-8154-4822-B77C-9335A899F404}"/>
                </a:ext>
              </a:extLst>
            </p:cNvPr>
            <p:cNvSpPr/>
            <p:nvPr/>
          </p:nvSpPr>
          <p:spPr>
            <a:xfrm>
              <a:off x="3633528" y="4220314"/>
              <a:ext cx="125591" cy="72124"/>
            </a:xfrm>
            <a:custGeom>
              <a:avLst/>
              <a:gdLst>
                <a:gd name="connsiteX0" fmla="*/ 125592 w 125591"/>
                <a:gd name="connsiteY0" fmla="*/ 0 h 72124"/>
                <a:gd name="connsiteX1" fmla="*/ 0 w 125591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72124">
                  <a:moveTo>
                    <a:pt x="125592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1" name="Freeform: Shape 900">
              <a:extLst>
                <a:ext uri="{FF2B5EF4-FFF2-40B4-BE49-F238E27FC236}">
                  <a16:creationId xmlns:a16="http://schemas.microsoft.com/office/drawing/2014/main" id="{0411C0C1-5F0D-4E63-8CDA-2E36F614056B}"/>
                </a:ext>
              </a:extLst>
            </p:cNvPr>
            <p:cNvSpPr/>
            <p:nvPr/>
          </p:nvSpPr>
          <p:spPr>
            <a:xfrm>
              <a:off x="5234753" y="3100013"/>
              <a:ext cx="125870" cy="66833"/>
            </a:xfrm>
            <a:custGeom>
              <a:avLst/>
              <a:gdLst>
                <a:gd name="connsiteX0" fmla="*/ 125870 w 125870"/>
                <a:gd name="connsiteY0" fmla="*/ 0 h 66833"/>
                <a:gd name="connsiteX1" fmla="*/ 0 w 12587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870" h="66833">
                  <a:moveTo>
                    <a:pt x="12587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2" name="Freeform: Shape 901">
              <a:extLst>
                <a:ext uri="{FF2B5EF4-FFF2-40B4-BE49-F238E27FC236}">
                  <a16:creationId xmlns:a16="http://schemas.microsoft.com/office/drawing/2014/main" id="{1450D907-2B50-4C9C-BD9E-705FA2940B2A}"/>
                </a:ext>
              </a:extLst>
            </p:cNvPr>
            <p:cNvSpPr/>
            <p:nvPr/>
          </p:nvSpPr>
          <p:spPr>
            <a:xfrm>
              <a:off x="8654135" y="4394082"/>
              <a:ext cx="96073" cy="122807"/>
            </a:xfrm>
            <a:custGeom>
              <a:avLst/>
              <a:gdLst>
                <a:gd name="connsiteX0" fmla="*/ 96073 w 96073"/>
                <a:gd name="connsiteY0" fmla="*/ 0 h 122807"/>
                <a:gd name="connsiteX1" fmla="*/ 0 w 96073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22807">
                  <a:moveTo>
                    <a:pt x="96073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3" name="Freeform: Shape 902">
              <a:extLst>
                <a:ext uri="{FF2B5EF4-FFF2-40B4-BE49-F238E27FC236}">
                  <a16:creationId xmlns:a16="http://schemas.microsoft.com/office/drawing/2014/main" id="{B4DBE908-7344-412C-906F-D6C5D9A92411}"/>
                </a:ext>
              </a:extLst>
            </p:cNvPr>
            <p:cNvSpPr/>
            <p:nvPr/>
          </p:nvSpPr>
          <p:spPr>
            <a:xfrm>
              <a:off x="5002227" y="4394082"/>
              <a:ext cx="96351" cy="122807"/>
            </a:xfrm>
            <a:custGeom>
              <a:avLst/>
              <a:gdLst>
                <a:gd name="connsiteX0" fmla="*/ 96352 w 96351"/>
                <a:gd name="connsiteY0" fmla="*/ 0 h 122807"/>
                <a:gd name="connsiteX1" fmla="*/ 0 w 96351"/>
                <a:gd name="connsiteY1" fmla="*/ 122807 h 122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2807">
                  <a:moveTo>
                    <a:pt x="96352" y="0"/>
                  </a:moveTo>
                  <a:lnTo>
                    <a:pt x="0" y="1228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4" name="Freeform: Shape 903">
              <a:extLst>
                <a:ext uri="{FF2B5EF4-FFF2-40B4-BE49-F238E27FC236}">
                  <a16:creationId xmlns:a16="http://schemas.microsoft.com/office/drawing/2014/main" id="{30683615-1D39-4F6A-8AC5-52C2296A51D7}"/>
                </a:ext>
              </a:extLst>
            </p:cNvPr>
            <p:cNvSpPr/>
            <p:nvPr/>
          </p:nvSpPr>
          <p:spPr>
            <a:xfrm>
              <a:off x="8886660" y="5158493"/>
              <a:ext cx="125591" cy="34809"/>
            </a:xfrm>
            <a:custGeom>
              <a:avLst/>
              <a:gdLst>
                <a:gd name="connsiteX0" fmla="*/ 125592 w 125591"/>
                <a:gd name="connsiteY0" fmla="*/ 0 h 34809"/>
                <a:gd name="connsiteX1" fmla="*/ 0 w 1255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34809">
                  <a:moveTo>
                    <a:pt x="125592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5" name="Freeform: Shape 904">
              <a:extLst>
                <a:ext uri="{FF2B5EF4-FFF2-40B4-BE49-F238E27FC236}">
                  <a16:creationId xmlns:a16="http://schemas.microsoft.com/office/drawing/2014/main" id="{FA2EA227-29AD-4E42-B9F8-6724C1543994}"/>
                </a:ext>
              </a:extLst>
            </p:cNvPr>
            <p:cNvSpPr/>
            <p:nvPr/>
          </p:nvSpPr>
          <p:spPr>
            <a:xfrm>
              <a:off x="8883876" y="2421094"/>
              <a:ext cx="123085" cy="74909"/>
            </a:xfrm>
            <a:custGeom>
              <a:avLst/>
              <a:gdLst>
                <a:gd name="connsiteX0" fmla="*/ 123085 w 123085"/>
                <a:gd name="connsiteY0" fmla="*/ 0 h 74909"/>
                <a:gd name="connsiteX1" fmla="*/ 0 w 123085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74909">
                  <a:moveTo>
                    <a:pt x="123085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6" name="Freeform: Shape 905">
              <a:extLst>
                <a:ext uri="{FF2B5EF4-FFF2-40B4-BE49-F238E27FC236}">
                  <a16:creationId xmlns:a16="http://schemas.microsoft.com/office/drawing/2014/main" id="{FB2B4676-02B7-4F5C-94F3-64078D0EE07B}"/>
                </a:ext>
              </a:extLst>
            </p:cNvPr>
            <p:cNvSpPr/>
            <p:nvPr/>
          </p:nvSpPr>
          <p:spPr>
            <a:xfrm>
              <a:off x="8654135" y="2210010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7" name="Freeform: Shape 906">
              <a:extLst>
                <a:ext uri="{FF2B5EF4-FFF2-40B4-BE49-F238E27FC236}">
                  <a16:creationId xmlns:a16="http://schemas.microsoft.com/office/drawing/2014/main" id="{5CB1579E-E535-4038-BD9A-9659EB680D0B}"/>
                </a:ext>
              </a:extLst>
            </p:cNvPr>
            <p:cNvSpPr/>
            <p:nvPr/>
          </p:nvSpPr>
          <p:spPr>
            <a:xfrm>
              <a:off x="4550542" y="3105583"/>
              <a:ext cx="125591" cy="61264"/>
            </a:xfrm>
            <a:custGeom>
              <a:avLst/>
              <a:gdLst>
                <a:gd name="connsiteX0" fmla="*/ 125592 w 125591"/>
                <a:gd name="connsiteY0" fmla="*/ 0 h 61264"/>
                <a:gd name="connsiteX1" fmla="*/ 0 w 125591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61264">
                  <a:moveTo>
                    <a:pt x="125592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8" name="Freeform: Shape 907">
              <a:extLst>
                <a:ext uri="{FF2B5EF4-FFF2-40B4-BE49-F238E27FC236}">
                  <a16:creationId xmlns:a16="http://schemas.microsoft.com/office/drawing/2014/main" id="{916A8FD8-CC8E-480D-8D77-09752A71F646}"/>
                </a:ext>
              </a:extLst>
            </p:cNvPr>
            <p:cNvSpPr/>
            <p:nvPr/>
          </p:nvSpPr>
          <p:spPr>
            <a:xfrm>
              <a:off x="6603731" y="2415803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09" name="Freeform: Shape 908">
              <a:extLst>
                <a:ext uri="{FF2B5EF4-FFF2-40B4-BE49-F238E27FC236}">
                  <a16:creationId xmlns:a16="http://schemas.microsoft.com/office/drawing/2014/main" id="{B6A307B0-3360-4AE2-85ED-52D2AA5F7E63}"/>
                </a:ext>
              </a:extLst>
            </p:cNvPr>
            <p:cNvSpPr/>
            <p:nvPr/>
          </p:nvSpPr>
          <p:spPr>
            <a:xfrm>
              <a:off x="4777777" y="648607"/>
              <a:ext cx="125591" cy="42884"/>
            </a:xfrm>
            <a:custGeom>
              <a:avLst/>
              <a:gdLst>
                <a:gd name="connsiteX0" fmla="*/ 125592 w 125591"/>
                <a:gd name="connsiteY0" fmla="*/ 0 h 42884"/>
                <a:gd name="connsiteX1" fmla="*/ 0 w 12559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42884">
                  <a:moveTo>
                    <a:pt x="125592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4F16F8DC-BED6-4B5C-9FF5-4B6A86336407}"/>
                </a:ext>
              </a:extLst>
            </p:cNvPr>
            <p:cNvSpPr/>
            <p:nvPr/>
          </p:nvSpPr>
          <p:spPr>
            <a:xfrm>
              <a:off x="4096073" y="3110874"/>
              <a:ext cx="125591" cy="55973"/>
            </a:xfrm>
            <a:custGeom>
              <a:avLst/>
              <a:gdLst>
                <a:gd name="connsiteX0" fmla="*/ 125592 w 125591"/>
                <a:gd name="connsiteY0" fmla="*/ 0 h 55973"/>
                <a:gd name="connsiteX1" fmla="*/ 0 w 125591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5591" h="55973">
                  <a:moveTo>
                    <a:pt x="125592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1694B3F8-6194-4866-B811-EFA187C23439}"/>
                </a:ext>
              </a:extLst>
            </p:cNvPr>
            <p:cNvSpPr/>
            <p:nvPr/>
          </p:nvSpPr>
          <p:spPr>
            <a:xfrm>
              <a:off x="5007518" y="664758"/>
              <a:ext cx="123085" cy="26733"/>
            </a:xfrm>
            <a:custGeom>
              <a:avLst/>
              <a:gdLst>
                <a:gd name="connsiteX0" fmla="*/ 123086 w 123085"/>
                <a:gd name="connsiteY0" fmla="*/ 0 h 26733"/>
                <a:gd name="connsiteX1" fmla="*/ 0 w 12308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6733">
                  <a:moveTo>
                    <a:pt x="123086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2" name="Freeform: Shape 911">
              <a:extLst>
                <a:ext uri="{FF2B5EF4-FFF2-40B4-BE49-F238E27FC236}">
                  <a16:creationId xmlns:a16="http://schemas.microsoft.com/office/drawing/2014/main" id="{BDA3EAD4-1B41-4630-B8C9-DA3A89E0AB99}"/>
                </a:ext>
              </a:extLst>
            </p:cNvPr>
            <p:cNvSpPr/>
            <p:nvPr/>
          </p:nvSpPr>
          <p:spPr>
            <a:xfrm>
              <a:off x="2500139" y="5166569"/>
              <a:ext cx="122807" cy="26733"/>
            </a:xfrm>
            <a:custGeom>
              <a:avLst/>
              <a:gdLst>
                <a:gd name="connsiteX0" fmla="*/ 122807 w 122807"/>
                <a:gd name="connsiteY0" fmla="*/ 0 h 26733"/>
                <a:gd name="connsiteX1" fmla="*/ 0 w 122807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6733">
                  <a:moveTo>
                    <a:pt x="122807" y="0"/>
                  </a:moveTo>
                  <a:lnTo>
                    <a:pt x="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D963AEC0-0635-4CFE-8851-57C159480558}"/>
                </a:ext>
              </a:extLst>
            </p:cNvPr>
            <p:cNvSpPr/>
            <p:nvPr/>
          </p:nvSpPr>
          <p:spPr>
            <a:xfrm>
              <a:off x="6606237" y="2207226"/>
              <a:ext cx="123085" cy="58758"/>
            </a:xfrm>
            <a:custGeom>
              <a:avLst/>
              <a:gdLst>
                <a:gd name="connsiteX0" fmla="*/ 123085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5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94904BDC-A649-4AF9-B493-137B953DDB48}"/>
                </a:ext>
              </a:extLst>
            </p:cNvPr>
            <p:cNvSpPr/>
            <p:nvPr/>
          </p:nvSpPr>
          <p:spPr>
            <a:xfrm>
              <a:off x="9571149" y="3113380"/>
              <a:ext cx="122807" cy="53467"/>
            </a:xfrm>
            <a:custGeom>
              <a:avLst/>
              <a:gdLst>
                <a:gd name="connsiteX0" fmla="*/ 122807 w 122807"/>
                <a:gd name="connsiteY0" fmla="*/ 0 h 53467"/>
                <a:gd name="connsiteX1" fmla="*/ 0 w 122807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3467">
                  <a:moveTo>
                    <a:pt x="122807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5" name="Freeform: Shape 914">
              <a:extLst>
                <a:ext uri="{FF2B5EF4-FFF2-40B4-BE49-F238E27FC236}">
                  <a16:creationId xmlns:a16="http://schemas.microsoft.com/office/drawing/2014/main" id="{B406CB48-616A-4715-8CDB-1A9BEF44B2D4}"/>
                </a:ext>
              </a:extLst>
            </p:cNvPr>
            <p:cNvSpPr/>
            <p:nvPr/>
          </p:nvSpPr>
          <p:spPr>
            <a:xfrm>
              <a:off x="2270119" y="5631899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3704D74F-E8C1-4ECD-B0D1-E55FB9286089}"/>
                </a:ext>
              </a:extLst>
            </p:cNvPr>
            <p:cNvSpPr/>
            <p:nvPr/>
          </p:nvSpPr>
          <p:spPr>
            <a:xfrm>
              <a:off x="6376496" y="2204441"/>
              <a:ext cx="122807" cy="61542"/>
            </a:xfrm>
            <a:custGeom>
              <a:avLst/>
              <a:gdLst>
                <a:gd name="connsiteX0" fmla="*/ 122807 w 122807"/>
                <a:gd name="connsiteY0" fmla="*/ 0 h 61542"/>
                <a:gd name="connsiteX1" fmla="*/ 0 w 122807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1542">
                  <a:moveTo>
                    <a:pt x="122807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0CEBADD5-2E89-4B7A-848E-F24A53FED46A}"/>
                </a:ext>
              </a:extLst>
            </p:cNvPr>
            <p:cNvSpPr/>
            <p:nvPr/>
          </p:nvSpPr>
          <p:spPr>
            <a:xfrm>
              <a:off x="3184349" y="3134822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8" name="Freeform: Shape 917">
              <a:extLst>
                <a:ext uri="{FF2B5EF4-FFF2-40B4-BE49-F238E27FC236}">
                  <a16:creationId xmlns:a16="http://schemas.microsoft.com/office/drawing/2014/main" id="{9085A04B-44AF-4DF8-94E8-4A223021A75B}"/>
                </a:ext>
              </a:extLst>
            </p:cNvPr>
            <p:cNvSpPr/>
            <p:nvPr/>
          </p:nvSpPr>
          <p:spPr>
            <a:xfrm>
              <a:off x="7745196" y="2201935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665C12F4-ACBA-4D82-9420-449EC470C083}"/>
                </a:ext>
              </a:extLst>
            </p:cNvPr>
            <p:cNvSpPr/>
            <p:nvPr/>
          </p:nvSpPr>
          <p:spPr>
            <a:xfrm>
              <a:off x="9798384" y="3145683"/>
              <a:ext cx="122807" cy="21164"/>
            </a:xfrm>
            <a:custGeom>
              <a:avLst/>
              <a:gdLst>
                <a:gd name="connsiteX0" fmla="*/ 122807 w 122807"/>
                <a:gd name="connsiteY0" fmla="*/ 0 h 21164"/>
                <a:gd name="connsiteX1" fmla="*/ 0 w 122807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1164">
                  <a:moveTo>
                    <a:pt x="122807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09D586AA-6215-457E-9403-34628B5C5251}"/>
                </a:ext>
              </a:extLst>
            </p:cNvPr>
            <p:cNvSpPr/>
            <p:nvPr/>
          </p:nvSpPr>
          <p:spPr>
            <a:xfrm>
              <a:off x="7060707" y="2421094"/>
              <a:ext cx="123085" cy="69618"/>
            </a:xfrm>
            <a:custGeom>
              <a:avLst/>
              <a:gdLst>
                <a:gd name="connsiteX0" fmla="*/ 123085 w 123085"/>
                <a:gd name="connsiteY0" fmla="*/ 0 h 69618"/>
                <a:gd name="connsiteX1" fmla="*/ 0 w 123085"/>
                <a:gd name="connsiteY1" fmla="*/ 69619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9618">
                  <a:moveTo>
                    <a:pt x="123085" y="0"/>
                  </a:moveTo>
                  <a:lnTo>
                    <a:pt x="0" y="696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1" name="Freeform: Shape 920">
              <a:extLst>
                <a:ext uri="{FF2B5EF4-FFF2-40B4-BE49-F238E27FC236}">
                  <a16:creationId xmlns:a16="http://schemas.microsoft.com/office/drawing/2014/main" id="{718D2657-5F4D-4482-8E15-400549535F55}"/>
                </a:ext>
              </a:extLst>
            </p:cNvPr>
            <p:cNvSpPr/>
            <p:nvPr/>
          </p:nvSpPr>
          <p:spPr>
            <a:xfrm>
              <a:off x="6376496" y="2415803"/>
              <a:ext cx="122807" cy="74909"/>
            </a:xfrm>
            <a:custGeom>
              <a:avLst/>
              <a:gdLst>
                <a:gd name="connsiteX0" fmla="*/ 122807 w 122807"/>
                <a:gd name="connsiteY0" fmla="*/ 0 h 74909"/>
                <a:gd name="connsiteX1" fmla="*/ 0 w 122807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4909">
                  <a:moveTo>
                    <a:pt x="122807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3CEC9505-4AFD-48F6-AB96-09CD882AF54A}"/>
                </a:ext>
              </a:extLst>
            </p:cNvPr>
            <p:cNvSpPr/>
            <p:nvPr/>
          </p:nvSpPr>
          <p:spPr>
            <a:xfrm>
              <a:off x="4550542" y="632734"/>
              <a:ext cx="122807" cy="58758"/>
            </a:xfrm>
            <a:custGeom>
              <a:avLst/>
              <a:gdLst>
                <a:gd name="connsiteX0" fmla="*/ 122807 w 122807"/>
                <a:gd name="connsiteY0" fmla="*/ 0 h 58758"/>
                <a:gd name="connsiteX1" fmla="*/ 0 w 122807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58758">
                  <a:moveTo>
                    <a:pt x="122807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D11465E7-80BF-4DCA-8603-2FD62F18E601}"/>
                </a:ext>
              </a:extLst>
            </p:cNvPr>
            <p:cNvSpPr/>
            <p:nvPr/>
          </p:nvSpPr>
          <p:spPr>
            <a:xfrm>
              <a:off x="4087997" y="102287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4" name="Freeform: Shape 923">
              <a:extLst>
                <a:ext uri="{FF2B5EF4-FFF2-40B4-BE49-F238E27FC236}">
                  <a16:creationId xmlns:a16="http://schemas.microsoft.com/office/drawing/2014/main" id="{0B7E4A95-65F0-41D9-9E29-A86DF0A9C17A}"/>
                </a:ext>
              </a:extLst>
            </p:cNvPr>
            <p:cNvSpPr/>
            <p:nvPr/>
          </p:nvSpPr>
          <p:spPr>
            <a:xfrm>
              <a:off x="6830966" y="2423878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11C2878E-DB9B-490B-BA1A-1DC7297F30DC}"/>
                </a:ext>
              </a:extLst>
            </p:cNvPr>
            <p:cNvSpPr/>
            <p:nvPr/>
          </p:nvSpPr>
          <p:spPr>
            <a:xfrm>
              <a:off x="8883876" y="5409955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5FDC346F-24A0-423B-8B5E-508ABA6AEBA4}"/>
                </a:ext>
              </a:extLst>
            </p:cNvPr>
            <p:cNvSpPr/>
            <p:nvPr/>
          </p:nvSpPr>
          <p:spPr>
            <a:xfrm>
              <a:off x="6830966" y="2215301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7" name="Freeform: Shape 926">
              <a:extLst>
                <a:ext uri="{FF2B5EF4-FFF2-40B4-BE49-F238E27FC236}">
                  <a16:creationId xmlns:a16="http://schemas.microsoft.com/office/drawing/2014/main" id="{3D6291FC-AE05-44E0-AD51-B5513D70D5D0}"/>
                </a:ext>
              </a:extLst>
            </p:cNvPr>
            <p:cNvSpPr/>
            <p:nvPr/>
          </p:nvSpPr>
          <p:spPr>
            <a:xfrm>
              <a:off x="5686716" y="4215023"/>
              <a:ext cx="122807" cy="77415"/>
            </a:xfrm>
            <a:custGeom>
              <a:avLst/>
              <a:gdLst>
                <a:gd name="connsiteX0" fmla="*/ 122807 w 122807"/>
                <a:gd name="connsiteY0" fmla="*/ 0 h 77415"/>
                <a:gd name="connsiteX1" fmla="*/ 0 w 122807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77415">
                  <a:moveTo>
                    <a:pt x="122807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92DF28FE-8710-42D4-A44C-C4F1D4ADD4EC}"/>
                </a:ext>
              </a:extLst>
            </p:cNvPr>
            <p:cNvSpPr/>
            <p:nvPr/>
          </p:nvSpPr>
          <p:spPr>
            <a:xfrm>
              <a:off x="7969646" y="5642481"/>
              <a:ext cx="123085" cy="2784"/>
            </a:xfrm>
            <a:custGeom>
              <a:avLst/>
              <a:gdLst>
                <a:gd name="connsiteX0" fmla="*/ 123086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F6E0C348-0C06-4964-829C-AC4239F8BFDB}"/>
                </a:ext>
              </a:extLst>
            </p:cNvPr>
            <p:cNvSpPr/>
            <p:nvPr/>
          </p:nvSpPr>
          <p:spPr>
            <a:xfrm>
              <a:off x="7060707" y="562632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0" name="Freeform: Shape 929">
              <a:extLst>
                <a:ext uri="{FF2B5EF4-FFF2-40B4-BE49-F238E27FC236}">
                  <a16:creationId xmlns:a16="http://schemas.microsoft.com/office/drawing/2014/main" id="{13618209-C43D-43F0-BCA4-7D2436B980DC}"/>
                </a:ext>
              </a:extLst>
            </p:cNvPr>
            <p:cNvSpPr/>
            <p:nvPr/>
          </p:nvSpPr>
          <p:spPr>
            <a:xfrm>
              <a:off x="2270119" y="5409955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1" name="Freeform: Shape 930">
              <a:extLst>
                <a:ext uri="{FF2B5EF4-FFF2-40B4-BE49-F238E27FC236}">
                  <a16:creationId xmlns:a16="http://schemas.microsoft.com/office/drawing/2014/main" id="{A8C067E7-2C68-4DD5-9E6F-4F9F67C5F927}"/>
                </a:ext>
              </a:extLst>
            </p:cNvPr>
            <p:cNvSpPr/>
            <p:nvPr/>
          </p:nvSpPr>
          <p:spPr>
            <a:xfrm>
              <a:off x="7515176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2" name="Freeform: Shape 931">
              <a:extLst>
                <a:ext uri="{FF2B5EF4-FFF2-40B4-BE49-F238E27FC236}">
                  <a16:creationId xmlns:a16="http://schemas.microsoft.com/office/drawing/2014/main" id="{DC846584-C39E-4C9B-9AD2-B2DF82C70621}"/>
                </a:ext>
              </a:extLst>
            </p:cNvPr>
            <p:cNvSpPr/>
            <p:nvPr/>
          </p:nvSpPr>
          <p:spPr>
            <a:xfrm>
              <a:off x="1580339" y="1696504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3" name="Freeform: Shape 932">
              <a:extLst>
                <a:ext uri="{FF2B5EF4-FFF2-40B4-BE49-F238E27FC236}">
                  <a16:creationId xmlns:a16="http://schemas.microsoft.com/office/drawing/2014/main" id="{993836FE-8B37-4F59-AB7F-0E4BB25F5173}"/>
                </a:ext>
              </a:extLst>
            </p:cNvPr>
            <p:cNvSpPr/>
            <p:nvPr/>
          </p:nvSpPr>
          <p:spPr>
            <a:xfrm>
              <a:off x="7515176" y="2215301"/>
              <a:ext cx="120300" cy="55973"/>
            </a:xfrm>
            <a:custGeom>
              <a:avLst/>
              <a:gdLst>
                <a:gd name="connsiteX0" fmla="*/ 120300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0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9D2CE982-CB71-48AB-9AFF-69ECEDAD62EF}"/>
                </a:ext>
              </a:extLst>
            </p:cNvPr>
            <p:cNvSpPr/>
            <p:nvPr/>
          </p:nvSpPr>
          <p:spPr>
            <a:xfrm>
              <a:off x="6600946" y="1584279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5" name="Freeform: Shape 934">
              <a:extLst>
                <a:ext uri="{FF2B5EF4-FFF2-40B4-BE49-F238E27FC236}">
                  <a16:creationId xmlns:a16="http://schemas.microsoft.com/office/drawing/2014/main" id="{A611CAA4-7AFC-4778-AFF6-8F3E52EE874C}"/>
                </a:ext>
              </a:extLst>
            </p:cNvPr>
            <p:cNvSpPr/>
            <p:nvPr/>
          </p:nvSpPr>
          <p:spPr>
            <a:xfrm>
              <a:off x="5464772" y="309472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6" name="Freeform: Shape 935">
              <a:extLst>
                <a:ext uri="{FF2B5EF4-FFF2-40B4-BE49-F238E27FC236}">
                  <a16:creationId xmlns:a16="http://schemas.microsoft.com/office/drawing/2014/main" id="{04F27FEA-CBE2-40C9-954C-00B57F550A94}"/>
                </a:ext>
              </a:extLst>
            </p:cNvPr>
            <p:cNvSpPr/>
            <p:nvPr/>
          </p:nvSpPr>
          <p:spPr>
            <a:xfrm>
              <a:off x="5919242" y="3089431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AD7B915D-9F41-4034-8664-C579F0563896}"/>
                </a:ext>
              </a:extLst>
            </p:cNvPr>
            <p:cNvSpPr/>
            <p:nvPr/>
          </p:nvSpPr>
          <p:spPr>
            <a:xfrm>
              <a:off x="7060707" y="5401879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1BBA6AED-991A-406E-84FB-AEA2FB0B211F}"/>
                </a:ext>
              </a:extLst>
            </p:cNvPr>
            <p:cNvSpPr/>
            <p:nvPr/>
          </p:nvSpPr>
          <p:spPr>
            <a:xfrm>
              <a:off x="9568365" y="2482636"/>
              <a:ext cx="123085" cy="10582"/>
            </a:xfrm>
            <a:custGeom>
              <a:avLst/>
              <a:gdLst>
                <a:gd name="connsiteX0" fmla="*/ 123085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5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4BC94FCD-B547-4771-B5E8-81782123D174}"/>
                </a:ext>
              </a:extLst>
            </p:cNvPr>
            <p:cNvSpPr/>
            <p:nvPr/>
          </p:nvSpPr>
          <p:spPr>
            <a:xfrm>
              <a:off x="8883876" y="4910094"/>
              <a:ext cx="120300" cy="61264"/>
            </a:xfrm>
            <a:custGeom>
              <a:avLst/>
              <a:gdLst>
                <a:gd name="connsiteX0" fmla="*/ 120300 w 120300"/>
                <a:gd name="connsiteY0" fmla="*/ 0 h 61264"/>
                <a:gd name="connsiteX1" fmla="*/ 0 w 120300"/>
                <a:gd name="connsiteY1" fmla="*/ 61264 h 61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264">
                  <a:moveTo>
                    <a:pt x="120300" y="0"/>
                  </a:moveTo>
                  <a:lnTo>
                    <a:pt x="0" y="612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03F100C0-562C-413D-88C2-D14A174EE4FB}"/>
                </a:ext>
              </a:extLst>
            </p:cNvPr>
            <p:cNvSpPr/>
            <p:nvPr/>
          </p:nvSpPr>
          <p:spPr>
            <a:xfrm>
              <a:off x="3863547" y="4206947"/>
              <a:ext cx="122807" cy="85491"/>
            </a:xfrm>
            <a:custGeom>
              <a:avLst/>
              <a:gdLst>
                <a:gd name="connsiteX0" fmla="*/ 122807 w 122807"/>
                <a:gd name="connsiteY0" fmla="*/ 0 h 85491"/>
                <a:gd name="connsiteX1" fmla="*/ 0 w 122807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5491">
                  <a:moveTo>
                    <a:pt x="122807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3E7C84A5-D5EC-418A-9A3E-9E093266DD8C}"/>
                </a:ext>
              </a:extLst>
            </p:cNvPr>
            <p:cNvSpPr/>
            <p:nvPr/>
          </p:nvSpPr>
          <p:spPr>
            <a:xfrm>
              <a:off x="7060707" y="5177429"/>
              <a:ext cx="123085" cy="15873"/>
            </a:xfrm>
            <a:custGeom>
              <a:avLst/>
              <a:gdLst>
                <a:gd name="connsiteX0" fmla="*/ 123085 w 123085"/>
                <a:gd name="connsiteY0" fmla="*/ 0 h 15873"/>
                <a:gd name="connsiteX1" fmla="*/ 0 w 123085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5873">
                  <a:moveTo>
                    <a:pt x="123085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CA75DFB1-1C84-4A1E-AB3E-F4FC83CC795B}"/>
                </a:ext>
              </a:extLst>
            </p:cNvPr>
            <p:cNvSpPr/>
            <p:nvPr/>
          </p:nvSpPr>
          <p:spPr>
            <a:xfrm>
              <a:off x="2270119" y="5190796"/>
              <a:ext cx="123085" cy="2506"/>
            </a:xfrm>
            <a:custGeom>
              <a:avLst/>
              <a:gdLst>
                <a:gd name="connsiteX0" fmla="*/ 123086 w 123085"/>
                <a:gd name="connsiteY0" fmla="*/ 0 h 2506"/>
                <a:gd name="connsiteX1" fmla="*/ 0 w 123085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506">
                  <a:moveTo>
                    <a:pt x="123086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9107BFCE-6AC7-4CFE-9684-28F3CEEB369F}"/>
                </a:ext>
              </a:extLst>
            </p:cNvPr>
            <p:cNvSpPr/>
            <p:nvPr/>
          </p:nvSpPr>
          <p:spPr>
            <a:xfrm>
              <a:off x="446950" y="1576204"/>
              <a:ext cx="122807" cy="16151"/>
            </a:xfrm>
            <a:custGeom>
              <a:avLst/>
              <a:gdLst>
                <a:gd name="connsiteX0" fmla="*/ 122807 w 122807"/>
                <a:gd name="connsiteY0" fmla="*/ 0 h 16151"/>
                <a:gd name="connsiteX1" fmla="*/ 0 w 122807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6151">
                  <a:moveTo>
                    <a:pt x="122807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435AD754-2BE6-43D0-8E06-F6AB1B1E7BDB}"/>
                </a:ext>
              </a:extLst>
            </p:cNvPr>
            <p:cNvSpPr/>
            <p:nvPr/>
          </p:nvSpPr>
          <p:spPr>
            <a:xfrm>
              <a:off x="7287941" y="4910094"/>
              <a:ext cx="123085" cy="58758"/>
            </a:xfrm>
            <a:custGeom>
              <a:avLst/>
              <a:gdLst>
                <a:gd name="connsiteX0" fmla="*/ 123086 w 123085"/>
                <a:gd name="connsiteY0" fmla="*/ 0 h 58758"/>
                <a:gd name="connsiteX1" fmla="*/ 0 w 123085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8758">
                  <a:moveTo>
                    <a:pt x="123086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453D5C51-5290-4140-B9A3-D757A8748FD1}"/>
                </a:ext>
              </a:extLst>
            </p:cNvPr>
            <p:cNvSpPr/>
            <p:nvPr/>
          </p:nvSpPr>
          <p:spPr>
            <a:xfrm>
              <a:off x="6376496" y="1573697"/>
              <a:ext cx="122807" cy="18657"/>
            </a:xfrm>
            <a:custGeom>
              <a:avLst/>
              <a:gdLst>
                <a:gd name="connsiteX0" fmla="*/ 122807 w 122807"/>
                <a:gd name="connsiteY0" fmla="*/ 0 h 18657"/>
                <a:gd name="connsiteX1" fmla="*/ 0 w 12280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8657">
                  <a:moveTo>
                    <a:pt x="122807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600727A2-CAFF-4557-9269-2B149A16AE48}"/>
                </a:ext>
              </a:extLst>
            </p:cNvPr>
            <p:cNvSpPr/>
            <p:nvPr/>
          </p:nvSpPr>
          <p:spPr>
            <a:xfrm>
              <a:off x="9571149" y="377392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5BF4EB26-C536-45D8-AF04-A593107EF2FA}"/>
                </a:ext>
              </a:extLst>
            </p:cNvPr>
            <p:cNvSpPr/>
            <p:nvPr/>
          </p:nvSpPr>
          <p:spPr>
            <a:xfrm>
              <a:off x="2500139" y="561045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287E08BD-D325-4120-BEB1-D4809B0333CA}"/>
                </a:ext>
              </a:extLst>
            </p:cNvPr>
            <p:cNvSpPr/>
            <p:nvPr/>
          </p:nvSpPr>
          <p:spPr>
            <a:xfrm>
              <a:off x="6603731" y="4920676"/>
              <a:ext cx="122807" cy="48175"/>
            </a:xfrm>
            <a:custGeom>
              <a:avLst/>
              <a:gdLst>
                <a:gd name="connsiteX0" fmla="*/ 122807 w 122807"/>
                <a:gd name="connsiteY0" fmla="*/ 0 h 48175"/>
                <a:gd name="connsiteX1" fmla="*/ 0 w 12280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8175">
                  <a:moveTo>
                    <a:pt x="122807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2606C1C7-2173-41B3-8F24-BBC7722CE836}"/>
                </a:ext>
              </a:extLst>
            </p:cNvPr>
            <p:cNvSpPr/>
            <p:nvPr/>
          </p:nvSpPr>
          <p:spPr>
            <a:xfrm>
              <a:off x="1131161" y="2252617"/>
              <a:ext cx="123085" cy="16151"/>
            </a:xfrm>
            <a:custGeom>
              <a:avLst/>
              <a:gdLst>
                <a:gd name="connsiteX0" fmla="*/ 123085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5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12258E5B-5EF1-41F6-924E-D1E380C4C349}"/>
                </a:ext>
              </a:extLst>
            </p:cNvPr>
            <p:cNvSpPr/>
            <p:nvPr/>
          </p:nvSpPr>
          <p:spPr>
            <a:xfrm>
              <a:off x="9338345" y="5190796"/>
              <a:ext cx="123085" cy="5291"/>
            </a:xfrm>
            <a:custGeom>
              <a:avLst/>
              <a:gdLst>
                <a:gd name="connsiteX0" fmla="*/ 123086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02E2F6C-2F1A-435C-8344-39EED02C84B6}"/>
                </a:ext>
              </a:extLst>
            </p:cNvPr>
            <p:cNvSpPr/>
            <p:nvPr/>
          </p:nvSpPr>
          <p:spPr>
            <a:xfrm>
              <a:off x="9338345" y="2257908"/>
              <a:ext cx="123085" cy="8075"/>
            </a:xfrm>
            <a:custGeom>
              <a:avLst/>
              <a:gdLst>
                <a:gd name="connsiteX0" fmla="*/ 123086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6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30F4B4CA-CD8F-45B5-B00C-35FCA5A22B80}"/>
                </a:ext>
              </a:extLst>
            </p:cNvPr>
            <p:cNvSpPr/>
            <p:nvPr/>
          </p:nvSpPr>
          <p:spPr>
            <a:xfrm>
              <a:off x="8656641" y="5145126"/>
              <a:ext cx="123085" cy="48175"/>
            </a:xfrm>
            <a:custGeom>
              <a:avLst/>
              <a:gdLst>
                <a:gd name="connsiteX0" fmla="*/ 123086 w 123085"/>
                <a:gd name="connsiteY0" fmla="*/ 0 h 48175"/>
                <a:gd name="connsiteX1" fmla="*/ 0 w 12308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8175">
                  <a:moveTo>
                    <a:pt x="123086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55DB50B4-9BF1-47D0-863D-92A87657F46C}"/>
                </a:ext>
              </a:extLst>
            </p:cNvPr>
            <p:cNvSpPr/>
            <p:nvPr/>
          </p:nvSpPr>
          <p:spPr>
            <a:xfrm>
              <a:off x="7974937" y="1806223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9836C0DB-36B0-41B9-8E2A-E7102A29718E}"/>
                </a:ext>
              </a:extLst>
            </p:cNvPr>
            <p:cNvSpPr/>
            <p:nvPr/>
          </p:nvSpPr>
          <p:spPr>
            <a:xfrm>
              <a:off x="2727373" y="4925967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983F8354-4871-45F8-8D09-6CFE7349836A}"/>
                </a:ext>
              </a:extLst>
            </p:cNvPr>
            <p:cNvSpPr/>
            <p:nvPr/>
          </p:nvSpPr>
          <p:spPr>
            <a:xfrm>
              <a:off x="8429406" y="5139835"/>
              <a:ext cx="123085" cy="53467"/>
            </a:xfrm>
            <a:custGeom>
              <a:avLst/>
              <a:gdLst>
                <a:gd name="connsiteX0" fmla="*/ 123085 w 123085"/>
                <a:gd name="connsiteY0" fmla="*/ 0 h 53467"/>
                <a:gd name="connsiteX1" fmla="*/ 0 w 123085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3467">
                  <a:moveTo>
                    <a:pt x="123085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7DBD1981-D50F-4DC3-BD07-C345C5E731E9}"/>
                </a:ext>
              </a:extLst>
            </p:cNvPr>
            <p:cNvSpPr/>
            <p:nvPr/>
          </p:nvSpPr>
          <p:spPr>
            <a:xfrm>
              <a:off x="7745196" y="5139835"/>
              <a:ext cx="120300" cy="56251"/>
            </a:xfrm>
            <a:custGeom>
              <a:avLst/>
              <a:gdLst>
                <a:gd name="connsiteX0" fmla="*/ 120301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1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D2F91E69-8B8B-44D4-98F4-8BB4CED96886}"/>
                </a:ext>
              </a:extLst>
            </p:cNvPr>
            <p:cNvSpPr/>
            <p:nvPr/>
          </p:nvSpPr>
          <p:spPr>
            <a:xfrm>
              <a:off x="7285435" y="1814299"/>
              <a:ext cx="122807" cy="2506"/>
            </a:xfrm>
            <a:custGeom>
              <a:avLst/>
              <a:gdLst>
                <a:gd name="connsiteX0" fmla="*/ 122807 w 122807"/>
                <a:gd name="connsiteY0" fmla="*/ 0 h 2506"/>
                <a:gd name="connsiteX1" fmla="*/ 0 w 122807"/>
                <a:gd name="connsiteY1" fmla="*/ 2506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506">
                  <a:moveTo>
                    <a:pt x="122807" y="0"/>
                  </a:moveTo>
                  <a:lnTo>
                    <a:pt x="0" y="25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7DFCDFD4-5544-46F0-A2D8-E39A084B0888}"/>
                </a:ext>
              </a:extLst>
            </p:cNvPr>
            <p:cNvSpPr/>
            <p:nvPr/>
          </p:nvSpPr>
          <p:spPr>
            <a:xfrm>
              <a:off x="7515176" y="1816805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9EA0C328-21E6-4616-98EE-97A9A73F4214}"/>
                </a:ext>
              </a:extLst>
            </p:cNvPr>
            <p:cNvSpPr/>
            <p:nvPr/>
          </p:nvSpPr>
          <p:spPr>
            <a:xfrm>
              <a:off x="8654135" y="181680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9F1AC901-062B-4A39-8548-8929A17F4F34}"/>
                </a:ext>
              </a:extLst>
            </p:cNvPr>
            <p:cNvSpPr/>
            <p:nvPr/>
          </p:nvSpPr>
          <p:spPr>
            <a:xfrm>
              <a:off x="3638819" y="3808451"/>
              <a:ext cx="123085" cy="32302"/>
            </a:xfrm>
            <a:custGeom>
              <a:avLst/>
              <a:gdLst>
                <a:gd name="connsiteX0" fmla="*/ 123086 w 123085"/>
                <a:gd name="connsiteY0" fmla="*/ 0 h 32302"/>
                <a:gd name="connsiteX1" fmla="*/ 0 w 1230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302">
                  <a:moveTo>
                    <a:pt x="123086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72F9EE01-88E7-4864-B3B5-84D79D59CE9E}"/>
                </a:ext>
              </a:extLst>
            </p:cNvPr>
            <p:cNvSpPr/>
            <p:nvPr/>
          </p:nvSpPr>
          <p:spPr>
            <a:xfrm>
              <a:off x="6149261" y="3319451"/>
              <a:ext cx="120300" cy="72124"/>
            </a:xfrm>
            <a:custGeom>
              <a:avLst/>
              <a:gdLst>
                <a:gd name="connsiteX0" fmla="*/ 120300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8EE3F86C-0DB6-46D3-A10F-9B6B66C0505A}"/>
                </a:ext>
              </a:extLst>
            </p:cNvPr>
            <p:cNvSpPr/>
            <p:nvPr/>
          </p:nvSpPr>
          <p:spPr>
            <a:xfrm>
              <a:off x="5919242" y="3327248"/>
              <a:ext cx="123085" cy="64327"/>
            </a:xfrm>
            <a:custGeom>
              <a:avLst/>
              <a:gdLst>
                <a:gd name="connsiteX0" fmla="*/ 123086 w 123085"/>
                <a:gd name="connsiteY0" fmla="*/ 0 h 64327"/>
                <a:gd name="connsiteX1" fmla="*/ 0 w 123085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64327">
                  <a:moveTo>
                    <a:pt x="12308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C277D92D-EDB1-489E-994F-B0646187387E}"/>
                </a:ext>
              </a:extLst>
            </p:cNvPr>
            <p:cNvSpPr/>
            <p:nvPr/>
          </p:nvSpPr>
          <p:spPr>
            <a:xfrm>
              <a:off x="5694792" y="3330033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38AF7C5-A82C-4099-B2DD-23024A23B8D7}"/>
                </a:ext>
              </a:extLst>
            </p:cNvPr>
            <p:cNvSpPr/>
            <p:nvPr/>
          </p:nvSpPr>
          <p:spPr>
            <a:xfrm>
              <a:off x="2954608" y="4904525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8076 w 120300"/>
                <a:gd name="connsiteY1" fmla="*/ 59036 h 66833"/>
                <a:gd name="connsiteX2" fmla="*/ 0 w 120300"/>
                <a:gd name="connsiteY2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8076" y="59036"/>
                  </a:lnTo>
                  <a:lnTo>
                    <a:pt x="0" y="66834"/>
                  </a:lnTo>
                </a:path>
              </a:pathLst>
            </a:custGeom>
            <a:noFill/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481C9AFB-0BAE-4976-9B09-63102D2DB657}"/>
                </a:ext>
              </a:extLst>
            </p:cNvPr>
            <p:cNvSpPr/>
            <p:nvPr/>
          </p:nvSpPr>
          <p:spPr>
            <a:xfrm>
              <a:off x="6376496" y="4262921"/>
              <a:ext cx="120300" cy="34809"/>
            </a:xfrm>
            <a:custGeom>
              <a:avLst/>
              <a:gdLst>
                <a:gd name="connsiteX0" fmla="*/ 120301 w 120300"/>
                <a:gd name="connsiteY0" fmla="*/ 0 h 34809"/>
                <a:gd name="connsiteX1" fmla="*/ 0 w 120300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4809">
                  <a:moveTo>
                    <a:pt x="120301" y="0"/>
                  </a:moveTo>
                  <a:lnTo>
                    <a:pt x="0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3B7E1915-84FF-413C-8CAF-DEBBB126FC80}"/>
                </a:ext>
              </a:extLst>
            </p:cNvPr>
            <p:cNvSpPr/>
            <p:nvPr/>
          </p:nvSpPr>
          <p:spPr>
            <a:xfrm>
              <a:off x="9798384" y="450630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D671A8B-286F-464E-B023-0461CB2EDCDC}"/>
                </a:ext>
              </a:extLst>
            </p:cNvPr>
            <p:cNvSpPr/>
            <p:nvPr/>
          </p:nvSpPr>
          <p:spPr>
            <a:xfrm>
              <a:off x="6376496" y="4899234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F1883797-94A3-4D12-977F-AC0452330ABE}"/>
                </a:ext>
              </a:extLst>
            </p:cNvPr>
            <p:cNvSpPr/>
            <p:nvPr/>
          </p:nvSpPr>
          <p:spPr>
            <a:xfrm>
              <a:off x="3409078" y="3616025"/>
              <a:ext cx="122807" cy="2784"/>
            </a:xfrm>
            <a:custGeom>
              <a:avLst/>
              <a:gdLst>
                <a:gd name="connsiteX0" fmla="*/ 122807 w 122807"/>
                <a:gd name="connsiteY0" fmla="*/ 0 h 2784"/>
                <a:gd name="connsiteX1" fmla="*/ 0 w 122807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784">
                  <a:moveTo>
                    <a:pt x="122807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EC0EEA8C-10C4-47DC-8C2E-6CEE6466D420}"/>
                </a:ext>
              </a:extLst>
            </p:cNvPr>
            <p:cNvSpPr/>
            <p:nvPr/>
          </p:nvSpPr>
          <p:spPr>
            <a:xfrm>
              <a:off x="2729880" y="4498231"/>
              <a:ext cx="123085" cy="21442"/>
            </a:xfrm>
            <a:custGeom>
              <a:avLst/>
              <a:gdLst>
                <a:gd name="connsiteX0" fmla="*/ 123085 w 123085"/>
                <a:gd name="connsiteY0" fmla="*/ 0 h 21442"/>
                <a:gd name="connsiteX1" fmla="*/ 0 w 12308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442">
                  <a:moveTo>
                    <a:pt x="123085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F548408-7A56-4BC2-8147-47748823D23A}"/>
                </a:ext>
              </a:extLst>
            </p:cNvPr>
            <p:cNvSpPr/>
            <p:nvPr/>
          </p:nvSpPr>
          <p:spPr>
            <a:xfrm>
              <a:off x="6606237" y="448764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78F554C1-1881-4B93-9BEC-D45D65866CD1}"/>
                </a:ext>
              </a:extLst>
            </p:cNvPr>
            <p:cNvSpPr/>
            <p:nvPr/>
          </p:nvSpPr>
          <p:spPr>
            <a:xfrm>
              <a:off x="5916457" y="4436688"/>
              <a:ext cx="123085" cy="80200"/>
            </a:xfrm>
            <a:custGeom>
              <a:avLst/>
              <a:gdLst>
                <a:gd name="connsiteX0" fmla="*/ 123086 w 123085"/>
                <a:gd name="connsiteY0" fmla="*/ 0 h 80200"/>
                <a:gd name="connsiteX1" fmla="*/ 0 w 12308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200">
                  <a:moveTo>
                    <a:pt x="12308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B508F184-69DC-4588-8FF2-1E17E71003F8}"/>
                </a:ext>
              </a:extLst>
            </p:cNvPr>
            <p:cNvSpPr/>
            <p:nvPr/>
          </p:nvSpPr>
          <p:spPr>
            <a:xfrm>
              <a:off x="10022834" y="3610734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2778A964-6B3A-4598-B909-5702EF6691CA}"/>
                </a:ext>
              </a:extLst>
            </p:cNvPr>
            <p:cNvSpPr/>
            <p:nvPr/>
          </p:nvSpPr>
          <p:spPr>
            <a:xfrm>
              <a:off x="3638819" y="3605443"/>
              <a:ext cx="123085" cy="10582"/>
            </a:xfrm>
            <a:custGeom>
              <a:avLst/>
              <a:gdLst>
                <a:gd name="connsiteX0" fmla="*/ 123086 w 123085"/>
                <a:gd name="connsiteY0" fmla="*/ 0 h 10582"/>
                <a:gd name="connsiteX1" fmla="*/ 0 w 12308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0582">
                  <a:moveTo>
                    <a:pt x="123086" y="0"/>
                  </a:moveTo>
                  <a:lnTo>
                    <a:pt x="0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85DC30D8-5507-4099-9ACA-A3024C75947A}"/>
                </a:ext>
              </a:extLst>
            </p:cNvPr>
            <p:cNvSpPr/>
            <p:nvPr/>
          </p:nvSpPr>
          <p:spPr>
            <a:xfrm>
              <a:off x="3638819" y="3375424"/>
              <a:ext cx="123085" cy="16151"/>
            </a:xfrm>
            <a:custGeom>
              <a:avLst/>
              <a:gdLst>
                <a:gd name="connsiteX0" fmla="*/ 123086 w 123085"/>
                <a:gd name="connsiteY0" fmla="*/ 0 h 16151"/>
                <a:gd name="connsiteX1" fmla="*/ 0 w 12308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6151">
                  <a:moveTo>
                    <a:pt x="123086" y="0"/>
                  </a:moveTo>
                  <a:lnTo>
                    <a:pt x="0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AB50292E-AEF3-4B90-A462-C43EC7B077FC}"/>
                </a:ext>
              </a:extLst>
            </p:cNvPr>
            <p:cNvSpPr/>
            <p:nvPr/>
          </p:nvSpPr>
          <p:spPr>
            <a:xfrm>
              <a:off x="3409078" y="3380715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BDBDEB9-FB0A-44DA-BC05-8957ABBD391F}"/>
                </a:ext>
              </a:extLst>
            </p:cNvPr>
            <p:cNvSpPr/>
            <p:nvPr/>
          </p:nvSpPr>
          <p:spPr>
            <a:xfrm>
              <a:off x="3411584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8E9B953B-A707-4226-836D-2D1B9E9EAB00}"/>
                </a:ext>
              </a:extLst>
            </p:cNvPr>
            <p:cNvSpPr/>
            <p:nvPr/>
          </p:nvSpPr>
          <p:spPr>
            <a:xfrm>
              <a:off x="7515176" y="4893943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27D0F853-90C1-4AA8-8FFA-57F1F2FA608B}"/>
                </a:ext>
              </a:extLst>
            </p:cNvPr>
            <p:cNvSpPr/>
            <p:nvPr/>
          </p:nvSpPr>
          <p:spPr>
            <a:xfrm>
              <a:off x="9341130" y="2870272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2A01E99C-D2D9-46D3-9FCB-F59DB62E1D40}"/>
                </a:ext>
              </a:extLst>
            </p:cNvPr>
            <p:cNvSpPr/>
            <p:nvPr/>
          </p:nvSpPr>
          <p:spPr>
            <a:xfrm>
              <a:off x="5916457" y="5073001"/>
              <a:ext cx="96351" cy="123085"/>
            </a:xfrm>
            <a:custGeom>
              <a:avLst/>
              <a:gdLst>
                <a:gd name="connsiteX0" fmla="*/ 96352 w 96351"/>
                <a:gd name="connsiteY0" fmla="*/ 0 h 123085"/>
                <a:gd name="connsiteX1" fmla="*/ 0 w 96351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23085">
                  <a:moveTo>
                    <a:pt x="96352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36939262-35D3-4C14-8AF8-52257C10629D}"/>
                </a:ext>
              </a:extLst>
            </p:cNvPr>
            <p:cNvSpPr/>
            <p:nvPr/>
          </p:nvSpPr>
          <p:spPr>
            <a:xfrm>
              <a:off x="10022834" y="3837969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67FDED6D-31A9-43EB-9A0E-FD9241ACDAF0}"/>
                </a:ext>
              </a:extLst>
            </p:cNvPr>
            <p:cNvSpPr/>
            <p:nvPr/>
          </p:nvSpPr>
          <p:spPr>
            <a:xfrm>
              <a:off x="6833472" y="4701517"/>
              <a:ext cx="123085" cy="42606"/>
            </a:xfrm>
            <a:custGeom>
              <a:avLst/>
              <a:gdLst>
                <a:gd name="connsiteX0" fmla="*/ 123086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6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3689224C-506C-4A04-B5A7-020A15B11973}"/>
                </a:ext>
              </a:extLst>
            </p:cNvPr>
            <p:cNvSpPr/>
            <p:nvPr/>
          </p:nvSpPr>
          <p:spPr>
            <a:xfrm>
              <a:off x="6606237" y="4706808"/>
              <a:ext cx="123085" cy="37315"/>
            </a:xfrm>
            <a:custGeom>
              <a:avLst/>
              <a:gdLst>
                <a:gd name="connsiteX0" fmla="*/ 123085 w 123085"/>
                <a:gd name="connsiteY0" fmla="*/ 0 h 37315"/>
                <a:gd name="connsiteX1" fmla="*/ 0 w 123085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7315">
                  <a:moveTo>
                    <a:pt x="123085" y="0"/>
                  </a:moveTo>
                  <a:lnTo>
                    <a:pt x="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057EAF67-ECE0-4477-AF42-6D6B17803CE9}"/>
                </a:ext>
              </a:extLst>
            </p:cNvPr>
            <p:cNvSpPr/>
            <p:nvPr/>
          </p:nvSpPr>
          <p:spPr>
            <a:xfrm>
              <a:off x="898635" y="795641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4DD137D7-0ECB-40C4-BA71-41F5AA0CE4D2}"/>
                </a:ext>
              </a:extLst>
            </p:cNvPr>
            <p:cNvSpPr/>
            <p:nvPr/>
          </p:nvSpPr>
          <p:spPr>
            <a:xfrm>
              <a:off x="2729880" y="4712099"/>
              <a:ext cx="123085" cy="32024"/>
            </a:xfrm>
            <a:custGeom>
              <a:avLst/>
              <a:gdLst>
                <a:gd name="connsiteX0" fmla="*/ 123085 w 123085"/>
                <a:gd name="connsiteY0" fmla="*/ 0 h 32024"/>
                <a:gd name="connsiteX1" fmla="*/ 0 w 123085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32024">
                  <a:moveTo>
                    <a:pt x="123085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B3FA57A7-872A-4FED-82C0-C42991454DCD}"/>
                </a:ext>
              </a:extLst>
            </p:cNvPr>
            <p:cNvSpPr/>
            <p:nvPr/>
          </p:nvSpPr>
          <p:spPr>
            <a:xfrm>
              <a:off x="8878585" y="4172138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9172C0C7-8014-46B0-AD2E-2CD23D737957}"/>
                </a:ext>
              </a:extLst>
            </p:cNvPr>
            <p:cNvSpPr/>
            <p:nvPr/>
          </p:nvSpPr>
          <p:spPr>
            <a:xfrm>
              <a:off x="10022834" y="3388791"/>
              <a:ext cx="123085" cy="5291"/>
            </a:xfrm>
            <a:custGeom>
              <a:avLst/>
              <a:gdLst>
                <a:gd name="connsiteX0" fmla="*/ 123085 w 123085"/>
                <a:gd name="connsiteY0" fmla="*/ 0 h 5291"/>
                <a:gd name="connsiteX1" fmla="*/ 0 w 123085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5291">
                  <a:moveTo>
                    <a:pt x="123085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8616CD56-7F02-48F0-B935-811EAC3A6E00}"/>
                </a:ext>
              </a:extLst>
            </p:cNvPr>
            <p:cNvSpPr/>
            <p:nvPr/>
          </p:nvSpPr>
          <p:spPr>
            <a:xfrm>
              <a:off x="9568365" y="4722960"/>
              <a:ext cx="123085" cy="21164"/>
            </a:xfrm>
            <a:custGeom>
              <a:avLst/>
              <a:gdLst>
                <a:gd name="connsiteX0" fmla="*/ 123085 w 123085"/>
                <a:gd name="connsiteY0" fmla="*/ 0 h 21164"/>
                <a:gd name="connsiteX1" fmla="*/ 0 w 123085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1164">
                  <a:moveTo>
                    <a:pt x="123085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A29867EC-DFCD-4CB4-826C-456D9BA88543}"/>
                </a:ext>
              </a:extLst>
            </p:cNvPr>
            <p:cNvSpPr/>
            <p:nvPr/>
          </p:nvSpPr>
          <p:spPr>
            <a:xfrm>
              <a:off x="3181843" y="2878348"/>
              <a:ext cx="122807" cy="64049"/>
            </a:xfrm>
            <a:custGeom>
              <a:avLst/>
              <a:gdLst>
                <a:gd name="connsiteX0" fmla="*/ 122807 w 122807"/>
                <a:gd name="connsiteY0" fmla="*/ 0 h 64049"/>
                <a:gd name="connsiteX1" fmla="*/ 0 w 122807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4049">
                  <a:moveTo>
                    <a:pt x="122807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1D203D68-20CF-4430-9339-85CE5937F97E}"/>
                </a:ext>
              </a:extLst>
            </p:cNvPr>
            <p:cNvSpPr/>
            <p:nvPr/>
          </p:nvSpPr>
          <p:spPr>
            <a:xfrm>
              <a:off x="2500139" y="4730757"/>
              <a:ext cx="122807" cy="13366"/>
            </a:xfrm>
            <a:custGeom>
              <a:avLst/>
              <a:gdLst>
                <a:gd name="connsiteX0" fmla="*/ 122807 w 122807"/>
                <a:gd name="connsiteY0" fmla="*/ 0 h 13366"/>
                <a:gd name="connsiteX1" fmla="*/ 0 w 12280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13366">
                  <a:moveTo>
                    <a:pt x="122807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6CB6B1E-D93B-4A2A-9C18-119B2C4B114F}"/>
                </a:ext>
              </a:extLst>
            </p:cNvPr>
            <p:cNvSpPr/>
            <p:nvPr/>
          </p:nvSpPr>
          <p:spPr>
            <a:xfrm>
              <a:off x="5461988" y="4618532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6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6E13E18F-1180-4DC0-A2E5-3E344376A89E}"/>
                </a:ext>
              </a:extLst>
            </p:cNvPr>
            <p:cNvSpPr/>
            <p:nvPr/>
          </p:nvSpPr>
          <p:spPr>
            <a:xfrm>
              <a:off x="2500139" y="2651113"/>
              <a:ext cx="122807" cy="66833"/>
            </a:xfrm>
            <a:custGeom>
              <a:avLst/>
              <a:gdLst>
                <a:gd name="connsiteX0" fmla="*/ 122807 w 122807"/>
                <a:gd name="connsiteY0" fmla="*/ 0 h 66833"/>
                <a:gd name="connsiteX1" fmla="*/ 0 w 122807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66833">
                  <a:moveTo>
                    <a:pt x="122807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56C83D39-8136-4C7F-AEE6-646D77AB15D4}"/>
                </a:ext>
              </a:extLst>
            </p:cNvPr>
            <p:cNvSpPr/>
            <p:nvPr/>
          </p:nvSpPr>
          <p:spPr>
            <a:xfrm>
              <a:off x="6146477" y="4663923"/>
              <a:ext cx="120300" cy="82985"/>
            </a:xfrm>
            <a:custGeom>
              <a:avLst/>
              <a:gdLst>
                <a:gd name="connsiteX0" fmla="*/ 120300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6F8DC89B-B2F4-4E40-BD78-787278946792}"/>
                </a:ext>
              </a:extLst>
            </p:cNvPr>
            <p:cNvSpPr/>
            <p:nvPr/>
          </p:nvSpPr>
          <p:spPr>
            <a:xfrm>
              <a:off x="9571149" y="2899512"/>
              <a:ext cx="122807" cy="42884"/>
            </a:xfrm>
            <a:custGeom>
              <a:avLst/>
              <a:gdLst>
                <a:gd name="connsiteX0" fmla="*/ 122807 w 122807"/>
                <a:gd name="connsiteY0" fmla="*/ 0 h 42884"/>
                <a:gd name="connsiteX1" fmla="*/ 0 w 122807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42884">
                  <a:moveTo>
                    <a:pt x="122807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D2EC240C-1A4F-4BB2-9DDA-15A71CBF8819}"/>
                </a:ext>
              </a:extLst>
            </p:cNvPr>
            <p:cNvSpPr/>
            <p:nvPr/>
          </p:nvSpPr>
          <p:spPr>
            <a:xfrm>
              <a:off x="4323308" y="616582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85A51205-20A8-4950-A84F-02341779C7A9}"/>
                </a:ext>
              </a:extLst>
            </p:cNvPr>
            <p:cNvSpPr/>
            <p:nvPr/>
          </p:nvSpPr>
          <p:spPr>
            <a:xfrm>
              <a:off x="671400" y="2041534"/>
              <a:ext cx="123085" cy="2784"/>
            </a:xfrm>
            <a:custGeom>
              <a:avLst/>
              <a:gdLst>
                <a:gd name="connsiteX0" fmla="*/ 0 w 123085"/>
                <a:gd name="connsiteY0" fmla="*/ 0 h 2784"/>
                <a:gd name="connsiteX1" fmla="*/ 123085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0" y="0"/>
                  </a:moveTo>
                  <a:lnTo>
                    <a:pt x="123085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817BEE9A-36B4-40B3-AB26-646D36EF7316}"/>
                </a:ext>
              </a:extLst>
            </p:cNvPr>
            <p:cNvSpPr/>
            <p:nvPr/>
          </p:nvSpPr>
          <p:spPr>
            <a:xfrm>
              <a:off x="1815650" y="2699011"/>
              <a:ext cx="123085" cy="18936"/>
            </a:xfrm>
            <a:custGeom>
              <a:avLst/>
              <a:gdLst>
                <a:gd name="connsiteX0" fmla="*/ 123086 w 123085"/>
                <a:gd name="connsiteY0" fmla="*/ 0 h 18936"/>
                <a:gd name="connsiteX1" fmla="*/ 0 w 123085"/>
                <a:gd name="connsiteY1" fmla="*/ 18936 h 18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8936">
                  <a:moveTo>
                    <a:pt x="123086" y="0"/>
                  </a:moveTo>
                  <a:lnTo>
                    <a:pt x="0" y="1893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9C7D1993-B729-4BD1-A68B-C56113432BB4}"/>
                </a:ext>
              </a:extLst>
            </p:cNvPr>
            <p:cNvSpPr/>
            <p:nvPr/>
          </p:nvSpPr>
          <p:spPr>
            <a:xfrm>
              <a:off x="6146477" y="1354538"/>
              <a:ext cx="123085" cy="13366"/>
            </a:xfrm>
            <a:custGeom>
              <a:avLst/>
              <a:gdLst>
                <a:gd name="connsiteX0" fmla="*/ 123085 w 123085"/>
                <a:gd name="connsiteY0" fmla="*/ 0 h 13366"/>
                <a:gd name="connsiteX1" fmla="*/ 0 w 12308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13366">
                  <a:moveTo>
                    <a:pt x="1230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D6A131D4-19C8-4A29-87E5-30BC8D759D06}"/>
                </a:ext>
              </a:extLst>
            </p:cNvPr>
            <p:cNvSpPr/>
            <p:nvPr/>
          </p:nvSpPr>
          <p:spPr>
            <a:xfrm>
              <a:off x="5689222" y="4845767"/>
              <a:ext cx="91060" cy="123085"/>
            </a:xfrm>
            <a:custGeom>
              <a:avLst/>
              <a:gdLst>
                <a:gd name="connsiteX0" fmla="*/ 91061 w 91060"/>
                <a:gd name="connsiteY0" fmla="*/ 0 h 123085"/>
                <a:gd name="connsiteX1" fmla="*/ 0 w 91060"/>
                <a:gd name="connsiteY1" fmla="*/ 123085 h 12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23085">
                  <a:moveTo>
                    <a:pt x="91061" y="0"/>
                  </a:moveTo>
                  <a:lnTo>
                    <a:pt x="0" y="1230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08C63A80-914E-4155-AF92-C52294190461}"/>
                </a:ext>
              </a:extLst>
            </p:cNvPr>
            <p:cNvSpPr/>
            <p:nvPr/>
          </p:nvSpPr>
          <p:spPr>
            <a:xfrm>
              <a:off x="2724589" y="4284363"/>
              <a:ext cx="123085" cy="8075"/>
            </a:xfrm>
            <a:custGeom>
              <a:avLst/>
              <a:gdLst>
                <a:gd name="connsiteX0" fmla="*/ 123085 w 123085"/>
                <a:gd name="connsiteY0" fmla="*/ 0 h 8075"/>
                <a:gd name="connsiteX1" fmla="*/ 0 w 12308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8075">
                  <a:moveTo>
                    <a:pt x="12308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0D7F30F2-2930-4249-8B99-0B9E551B43E1}"/>
                </a:ext>
              </a:extLst>
            </p:cNvPr>
            <p:cNvSpPr/>
            <p:nvPr/>
          </p:nvSpPr>
          <p:spPr>
            <a:xfrm>
              <a:off x="7515176" y="2012015"/>
              <a:ext cx="123085" cy="29518"/>
            </a:xfrm>
            <a:custGeom>
              <a:avLst/>
              <a:gdLst>
                <a:gd name="connsiteX0" fmla="*/ 123085 w 123085"/>
                <a:gd name="connsiteY0" fmla="*/ 0 h 29518"/>
                <a:gd name="connsiteX1" fmla="*/ 0 w 123085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9518">
                  <a:moveTo>
                    <a:pt x="123085" y="0"/>
                  </a:moveTo>
                  <a:lnTo>
                    <a:pt x="0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8FBF66CC-3068-409E-9935-BDC6D556B84E}"/>
                </a:ext>
              </a:extLst>
            </p:cNvPr>
            <p:cNvSpPr/>
            <p:nvPr/>
          </p:nvSpPr>
          <p:spPr>
            <a:xfrm>
              <a:off x="446950" y="1333096"/>
              <a:ext cx="122807" cy="32024"/>
            </a:xfrm>
            <a:custGeom>
              <a:avLst/>
              <a:gdLst>
                <a:gd name="connsiteX0" fmla="*/ 122807 w 122807"/>
                <a:gd name="connsiteY0" fmla="*/ 0 h 32024"/>
                <a:gd name="connsiteX1" fmla="*/ 0 w 122807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2024">
                  <a:moveTo>
                    <a:pt x="122807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C3189B8A-99EC-45A3-BB94-35F8F5852D44}"/>
                </a:ext>
              </a:extLst>
            </p:cNvPr>
            <p:cNvSpPr/>
            <p:nvPr/>
          </p:nvSpPr>
          <p:spPr>
            <a:xfrm>
              <a:off x="9568365" y="4966067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C20DD67D-E9D7-415F-869C-2ADCFA8CEBED}"/>
                </a:ext>
              </a:extLst>
            </p:cNvPr>
            <p:cNvSpPr/>
            <p:nvPr/>
          </p:nvSpPr>
          <p:spPr>
            <a:xfrm>
              <a:off x="5692007" y="3573419"/>
              <a:ext cx="123085" cy="42606"/>
            </a:xfrm>
            <a:custGeom>
              <a:avLst/>
              <a:gdLst>
                <a:gd name="connsiteX0" fmla="*/ 123085 w 123085"/>
                <a:gd name="connsiteY0" fmla="*/ 0 h 42606"/>
                <a:gd name="connsiteX1" fmla="*/ 0 w 12308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42606">
                  <a:moveTo>
                    <a:pt x="123085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A1963CD0-3848-447C-A892-FDCB6680B2D6}"/>
                </a:ext>
              </a:extLst>
            </p:cNvPr>
            <p:cNvSpPr/>
            <p:nvPr/>
          </p:nvSpPr>
          <p:spPr>
            <a:xfrm>
              <a:off x="7290726" y="2014800"/>
              <a:ext cx="122807" cy="29239"/>
            </a:xfrm>
            <a:custGeom>
              <a:avLst/>
              <a:gdLst>
                <a:gd name="connsiteX0" fmla="*/ 122807 w 122807"/>
                <a:gd name="connsiteY0" fmla="*/ 0 h 29239"/>
                <a:gd name="connsiteX1" fmla="*/ 0 w 12280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29239">
                  <a:moveTo>
                    <a:pt x="122807" y="0"/>
                  </a:moveTo>
                  <a:lnTo>
                    <a:pt x="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CA9DD873-0903-4929-BC8C-117B898584CF}"/>
                </a:ext>
              </a:extLst>
            </p:cNvPr>
            <p:cNvSpPr/>
            <p:nvPr/>
          </p:nvSpPr>
          <p:spPr>
            <a:xfrm>
              <a:off x="6376496" y="4027888"/>
              <a:ext cx="122807" cy="37315"/>
            </a:xfrm>
            <a:custGeom>
              <a:avLst/>
              <a:gdLst>
                <a:gd name="connsiteX0" fmla="*/ 122807 w 122807"/>
                <a:gd name="connsiteY0" fmla="*/ 0 h 37315"/>
                <a:gd name="connsiteX1" fmla="*/ 0 w 122807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37315">
                  <a:moveTo>
                    <a:pt x="122807" y="0"/>
                  </a:moveTo>
                  <a:lnTo>
                    <a:pt x="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9" name="Freeform: Shape 1008">
              <a:extLst>
                <a:ext uri="{FF2B5EF4-FFF2-40B4-BE49-F238E27FC236}">
                  <a16:creationId xmlns:a16="http://schemas.microsoft.com/office/drawing/2014/main" id="{36AEC988-E4D7-4EF7-86C1-C1D60D4FDE63}"/>
                </a:ext>
              </a:extLst>
            </p:cNvPr>
            <p:cNvSpPr/>
            <p:nvPr/>
          </p:nvSpPr>
          <p:spPr>
            <a:xfrm>
              <a:off x="2954608" y="4059913"/>
              <a:ext cx="122807" cy="8075"/>
            </a:xfrm>
            <a:custGeom>
              <a:avLst/>
              <a:gdLst>
                <a:gd name="connsiteX0" fmla="*/ 122807 w 122807"/>
                <a:gd name="connsiteY0" fmla="*/ 0 h 8075"/>
                <a:gd name="connsiteX1" fmla="*/ 0 w 122807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807" h="8075">
                  <a:moveTo>
                    <a:pt x="122807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6E7A01AC-9625-4EFA-B390-962230FEB2DA}"/>
                </a:ext>
              </a:extLst>
            </p:cNvPr>
            <p:cNvSpPr/>
            <p:nvPr/>
          </p:nvSpPr>
          <p:spPr>
            <a:xfrm>
              <a:off x="10022834" y="4067989"/>
              <a:ext cx="123085" cy="2784"/>
            </a:xfrm>
            <a:custGeom>
              <a:avLst/>
              <a:gdLst>
                <a:gd name="connsiteX0" fmla="*/ 123085 w 123085"/>
                <a:gd name="connsiteY0" fmla="*/ 0 h 2784"/>
                <a:gd name="connsiteX1" fmla="*/ 0 w 123085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784">
                  <a:moveTo>
                    <a:pt x="12308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DE253E7A-7884-43C4-9904-6CD692CE632A}"/>
                </a:ext>
              </a:extLst>
            </p:cNvPr>
            <p:cNvSpPr/>
            <p:nvPr/>
          </p:nvSpPr>
          <p:spPr>
            <a:xfrm>
              <a:off x="7742411" y="2597646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C1E28F3D-B49C-42A9-9F7A-7D5BC74DC422}"/>
                </a:ext>
              </a:extLst>
            </p:cNvPr>
            <p:cNvSpPr/>
            <p:nvPr/>
          </p:nvSpPr>
          <p:spPr>
            <a:xfrm>
              <a:off x="676691" y="1792856"/>
              <a:ext cx="123085" cy="23948"/>
            </a:xfrm>
            <a:custGeom>
              <a:avLst/>
              <a:gdLst>
                <a:gd name="connsiteX0" fmla="*/ 123086 w 123085"/>
                <a:gd name="connsiteY0" fmla="*/ 0 h 23948"/>
                <a:gd name="connsiteX1" fmla="*/ 0 w 12308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085" h="23948">
                  <a:moveTo>
                    <a:pt x="123086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034EF22D-6E23-491F-8A55-E33C61481E81}"/>
                </a:ext>
              </a:extLst>
            </p:cNvPr>
            <p:cNvSpPr/>
            <p:nvPr/>
          </p:nvSpPr>
          <p:spPr>
            <a:xfrm>
              <a:off x="8659426" y="2012015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DAACAE91-E9FE-45DB-8B88-22F265BCBFB9}"/>
                </a:ext>
              </a:extLst>
            </p:cNvPr>
            <p:cNvSpPr/>
            <p:nvPr/>
          </p:nvSpPr>
          <p:spPr>
            <a:xfrm>
              <a:off x="7974937" y="200143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880B9484-4ACB-45E7-B6AF-B9A76B2C56F8}"/>
                </a:ext>
              </a:extLst>
            </p:cNvPr>
            <p:cNvSpPr/>
            <p:nvPr/>
          </p:nvSpPr>
          <p:spPr>
            <a:xfrm>
              <a:off x="6146477" y="1985282"/>
              <a:ext cx="120300" cy="56251"/>
            </a:xfrm>
            <a:custGeom>
              <a:avLst/>
              <a:gdLst>
                <a:gd name="connsiteX0" fmla="*/ 120300 w 120300"/>
                <a:gd name="connsiteY0" fmla="*/ 0 h 56251"/>
                <a:gd name="connsiteX1" fmla="*/ 0 w 120300"/>
                <a:gd name="connsiteY1" fmla="*/ 56252 h 5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6251">
                  <a:moveTo>
                    <a:pt x="120300" y="0"/>
                  </a:moveTo>
                  <a:lnTo>
                    <a:pt x="0" y="562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BA76445A-7C83-463D-BB9F-1901F596EE27}"/>
                </a:ext>
              </a:extLst>
            </p:cNvPr>
            <p:cNvSpPr/>
            <p:nvPr/>
          </p:nvSpPr>
          <p:spPr>
            <a:xfrm>
              <a:off x="1355889" y="1969409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2A8E7552-C583-4DC7-BE7A-861EB1F412FD}"/>
                </a:ext>
              </a:extLst>
            </p:cNvPr>
            <p:cNvSpPr/>
            <p:nvPr/>
          </p:nvSpPr>
          <p:spPr>
            <a:xfrm>
              <a:off x="9568365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95A3A8A6-2785-4594-861B-5487D3D0D318}"/>
                </a:ext>
              </a:extLst>
            </p:cNvPr>
            <p:cNvSpPr/>
            <p:nvPr/>
          </p:nvSpPr>
          <p:spPr>
            <a:xfrm>
              <a:off x="8199665" y="2594861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CF71B0A3-3D62-43CC-B959-B2629BDE40D6}"/>
                </a:ext>
              </a:extLst>
            </p:cNvPr>
            <p:cNvSpPr/>
            <p:nvPr/>
          </p:nvSpPr>
          <p:spPr>
            <a:xfrm>
              <a:off x="2502645" y="2910372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A65DA250-78E0-43F3-87BD-E47D2C3297EA}"/>
                </a:ext>
              </a:extLst>
            </p:cNvPr>
            <p:cNvSpPr/>
            <p:nvPr/>
          </p:nvSpPr>
          <p:spPr>
            <a:xfrm>
              <a:off x="5692007" y="4011737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347F3113-3DD1-40F5-9FBD-6FAF1678C5B2}"/>
                </a:ext>
              </a:extLst>
            </p:cNvPr>
            <p:cNvSpPr/>
            <p:nvPr/>
          </p:nvSpPr>
          <p:spPr>
            <a:xfrm>
              <a:off x="5461988" y="4001155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1C9404C2-C80B-4947-ADB8-345DDC673805}"/>
                </a:ext>
              </a:extLst>
            </p:cNvPr>
            <p:cNvSpPr/>
            <p:nvPr/>
          </p:nvSpPr>
          <p:spPr>
            <a:xfrm>
              <a:off x="4318017" y="3990295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FFE6081F-8084-4AA4-8876-AEBDCDEAA24F}"/>
                </a:ext>
              </a:extLst>
            </p:cNvPr>
            <p:cNvSpPr/>
            <p:nvPr/>
          </p:nvSpPr>
          <p:spPr>
            <a:xfrm>
              <a:off x="3184349" y="4460916"/>
              <a:ext cx="120300" cy="55973"/>
            </a:xfrm>
            <a:custGeom>
              <a:avLst/>
              <a:gdLst>
                <a:gd name="connsiteX0" fmla="*/ 120301 w 120300"/>
                <a:gd name="connsiteY0" fmla="*/ 0 h 55973"/>
                <a:gd name="connsiteX1" fmla="*/ 0 w 120300"/>
                <a:gd name="connsiteY1" fmla="*/ 55973 h 55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5973">
                  <a:moveTo>
                    <a:pt x="120301" y="0"/>
                  </a:moveTo>
                  <a:lnTo>
                    <a:pt x="0" y="559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3013CF3D-2A33-455C-BE91-14A41E18197C}"/>
                </a:ext>
              </a:extLst>
            </p:cNvPr>
            <p:cNvSpPr/>
            <p:nvPr/>
          </p:nvSpPr>
          <p:spPr>
            <a:xfrm>
              <a:off x="3409078" y="5300236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0000139F-1A99-47C2-8FD4-7342EAA72D1D}"/>
                </a:ext>
              </a:extLst>
            </p:cNvPr>
            <p:cNvSpPr/>
            <p:nvPr/>
          </p:nvSpPr>
          <p:spPr>
            <a:xfrm>
              <a:off x="4547758" y="3985004"/>
              <a:ext cx="120300" cy="80200"/>
            </a:xfrm>
            <a:custGeom>
              <a:avLst/>
              <a:gdLst>
                <a:gd name="connsiteX0" fmla="*/ 120301 w 120300"/>
                <a:gd name="connsiteY0" fmla="*/ 0 h 80200"/>
                <a:gd name="connsiteX1" fmla="*/ 0 w 120300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200">
                  <a:moveTo>
                    <a:pt x="120301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2DA578F-9CCD-47A3-8D63-4CBD823279EE}"/>
                </a:ext>
              </a:extLst>
            </p:cNvPr>
            <p:cNvSpPr/>
            <p:nvPr/>
          </p:nvSpPr>
          <p:spPr>
            <a:xfrm>
              <a:off x="3409078" y="4444764"/>
              <a:ext cx="120300" cy="72124"/>
            </a:xfrm>
            <a:custGeom>
              <a:avLst/>
              <a:gdLst>
                <a:gd name="connsiteX0" fmla="*/ 120301 w 120300"/>
                <a:gd name="connsiteY0" fmla="*/ 0 h 72124"/>
                <a:gd name="connsiteX1" fmla="*/ 0 w 120300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2124">
                  <a:moveTo>
                    <a:pt x="120301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490410E9-C8AD-434C-B152-40F917462C2B}"/>
                </a:ext>
              </a:extLst>
            </p:cNvPr>
            <p:cNvSpPr/>
            <p:nvPr/>
          </p:nvSpPr>
          <p:spPr>
            <a:xfrm>
              <a:off x="6146477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6E2A2E8C-D4A2-46B3-823E-155ACB5472B9}"/>
                </a:ext>
              </a:extLst>
            </p:cNvPr>
            <p:cNvSpPr/>
            <p:nvPr/>
          </p:nvSpPr>
          <p:spPr>
            <a:xfrm>
              <a:off x="4777777" y="262438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70D4E1F4-A8E8-4C53-8216-1379FE2252FC}"/>
                </a:ext>
              </a:extLst>
            </p:cNvPr>
            <p:cNvSpPr/>
            <p:nvPr/>
          </p:nvSpPr>
          <p:spPr>
            <a:xfrm>
              <a:off x="7055416" y="4434182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CA545369-EDA1-47E2-A8A5-A438447F57AF}"/>
                </a:ext>
              </a:extLst>
            </p:cNvPr>
            <p:cNvSpPr/>
            <p:nvPr/>
          </p:nvSpPr>
          <p:spPr>
            <a:xfrm>
              <a:off x="4550542" y="83852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3" name="Freeform: Shape 1032">
              <a:extLst>
                <a:ext uri="{FF2B5EF4-FFF2-40B4-BE49-F238E27FC236}">
                  <a16:creationId xmlns:a16="http://schemas.microsoft.com/office/drawing/2014/main" id="{FE991F76-912D-4326-BD04-7CE228B0038A}"/>
                </a:ext>
              </a:extLst>
            </p:cNvPr>
            <p:cNvSpPr/>
            <p:nvPr/>
          </p:nvSpPr>
          <p:spPr>
            <a:xfrm>
              <a:off x="5461988" y="900069"/>
              <a:ext cx="120300" cy="15873"/>
            </a:xfrm>
            <a:custGeom>
              <a:avLst/>
              <a:gdLst>
                <a:gd name="connsiteX0" fmla="*/ 120301 w 120300"/>
                <a:gd name="connsiteY0" fmla="*/ 0 h 15873"/>
                <a:gd name="connsiteX1" fmla="*/ 0 w 120300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5873">
                  <a:moveTo>
                    <a:pt x="120301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AB04E51C-60A7-4C90-AE4F-CB6579CE00C2}"/>
                </a:ext>
              </a:extLst>
            </p:cNvPr>
            <p:cNvSpPr/>
            <p:nvPr/>
          </p:nvSpPr>
          <p:spPr>
            <a:xfrm>
              <a:off x="6600946" y="3776426"/>
              <a:ext cx="120300" cy="64327"/>
            </a:xfrm>
            <a:custGeom>
              <a:avLst/>
              <a:gdLst>
                <a:gd name="connsiteX0" fmla="*/ 120301 w 120300"/>
                <a:gd name="connsiteY0" fmla="*/ 0 h 64327"/>
                <a:gd name="connsiteX1" fmla="*/ 0 w 120300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327">
                  <a:moveTo>
                    <a:pt x="120301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BBF51597-8F93-4761-B3F4-33738E08AD6C}"/>
                </a:ext>
              </a:extLst>
            </p:cNvPr>
            <p:cNvSpPr/>
            <p:nvPr/>
          </p:nvSpPr>
          <p:spPr>
            <a:xfrm>
              <a:off x="1355889" y="2482636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F1D447B1-0DF7-437E-B546-9B13917A3FCC}"/>
                </a:ext>
              </a:extLst>
            </p:cNvPr>
            <p:cNvSpPr/>
            <p:nvPr/>
          </p:nvSpPr>
          <p:spPr>
            <a:xfrm>
              <a:off x="9113895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C24D10BB-77D8-4258-B589-798CFB5D3DA3}"/>
                </a:ext>
              </a:extLst>
            </p:cNvPr>
            <p:cNvSpPr/>
            <p:nvPr/>
          </p:nvSpPr>
          <p:spPr>
            <a:xfrm>
              <a:off x="5692007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8" name="Freeform: Shape 1037">
              <a:extLst>
                <a:ext uri="{FF2B5EF4-FFF2-40B4-BE49-F238E27FC236}">
                  <a16:creationId xmlns:a16="http://schemas.microsoft.com/office/drawing/2014/main" id="{C46E2328-69CD-43A7-B888-6AE24227E741}"/>
                </a:ext>
              </a:extLst>
            </p:cNvPr>
            <p:cNvSpPr/>
            <p:nvPr/>
          </p:nvSpPr>
          <p:spPr>
            <a:xfrm>
              <a:off x="1815650" y="243975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E6063793-0897-42D5-AC44-B1271162D551}"/>
                </a:ext>
              </a:extLst>
            </p:cNvPr>
            <p:cNvSpPr/>
            <p:nvPr/>
          </p:nvSpPr>
          <p:spPr>
            <a:xfrm>
              <a:off x="9338345" y="4215023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0" name="Freeform: Shape 1039">
              <a:extLst>
                <a:ext uri="{FF2B5EF4-FFF2-40B4-BE49-F238E27FC236}">
                  <a16:creationId xmlns:a16="http://schemas.microsoft.com/office/drawing/2014/main" id="{4F2F0DDE-346D-49CD-8208-C09919C79600}"/>
                </a:ext>
              </a:extLst>
            </p:cNvPr>
            <p:cNvSpPr/>
            <p:nvPr/>
          </p:nvSpPr>
          <p:spPr>
            <a:xfrm>
              <a:off x="2500139" y="5385728"/>
              <a:ext cx="120300" cy="32302"/>
            </a:xfrm>
            <a:custGeom>
              <a:avLst/>
              <a:gdLst>
                <a:gd name="connsiteX0" fmla="*/ 120301 w 120300"/>
                <a:gd name="connsiteY0" fmla="*/ 0 h 32302"/>
                <a:gd name="connsiteX1" fmla="*/ 0 w 120300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302">
                  <a:moveTo>
                    <a:pt x="120301" y="0"/>
                  </a:moveTo>
                  <a:lnTo>
                    <a:pt x="0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CEF4E905-7B85-460A-8944-2401DFBEBEDF}"/>
                </a:ext>
              </a:extLst>
            </p:cNvPr>
            <p:cNvSpPr/>
            <p:nvPr/>
          </p:nvSpPr>
          <p:spPr>
            <a:xfrm>
              <a:off x="8432191" y="1811514"/>
              <a:ext cx="120300" cy="8075"/>
            </a:xfrm>
            <a:custGeom>
              <a:avLst/>
              <a:gdLst>
                <a:gd name="connsiteX0" fmla="*/ 120301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1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9525CF0E-5E8F-4E3F-B5BB-3D511AC12AE3}"/>
                </a:ext>
              </a:extLst>
            </p:cNvPr>
            <p:cNvSpPr/>
            <p:nvPr/>
          </p:nvSpPr>
          <p:spPr>
            <a:xfrm>
              <a:off x="7747702" y="1811514"/>
              <a:ext cx="120300" cy="8075"/>
            </a:xfrm>
            <a:custGeom>
              <a:avLst/>
              <a:gdLst>
                <a:gd name="connsiteX0" fmla="*/ 120300 w 120300"/>
                <a:gd name="connsiteY0" fmla="*/ 0 h 8075"/>
                <a:gd name="connsiteX1" fmla="*/ 0 w 120300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075">
                  <a:moveTo>
                    <a:pt x="120300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FA6AABBF-15BB-4253-BA76-F3FF91E39917}"/>
                </a:ext>
              </a:extLst>
            </p:cNvPr>
            <p:cNvSpPr/>
            <p:nvPr/>
          </p:nvSpPr>
          <p:spPr>
            <a:xfrm>
              <a:off x="5234753" y="262438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186EA893-B544-423F-A18E-3CFBB6328F27}"/>
                </a:ext>
              </a:extLst>
            </p:cNvPr>
            <p:cNvSpPr/>
            <p:nvPr/>
          </p:nvSpPr>
          <p:spPr>
            <a:xfrm>
              <a:off x="7063491" y="1806223"/>
              <a:ext cx="120300" cy="13366"/>
            </a:xfrm>
            <a:custGeom>
              <a:avLst/>
              <a:gdLst>
                <a:gd name="connsiteX0" fmla="*/ 120301 w 120300"/>
                <a:gd name="connsiteY0" fmla="*/ 0 h 13366"/>
                <a:gd name="connsiteX1" fmla="*/ 0 w 120300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13366">
                  <a:moveTo>
                    <a:pt x="120301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5F91C26E-7074-48A2-9D21-2963E0992796}"/>
                </a:ext>
              </a:extLst>
            </p:cNvPr>
            <p:cNvSpPr/>
            <p:nvPr/>
          </p:nvSpPr>
          <p:spPr>
            <a:xfrm>
              <a:off x="8429406" y="5391297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BF21A-B805-4D0A-BB73-6893E310D878}"/>
                </a:ext>
              </a:extLst>
            </p:cNvPr>
            <p:cNvSpPr/>
            <p:nvPr/>
          </p:nvSpPr>
          <p:spPr>
            <a:xfrm>
              <a:off x="4093288" y="2145683"/>
              <a:ext cx="93567" cy="120300"/>
            </a:xfrm>
            <a:custGeom>
              <a:avLst/>
              <a:gdLst>
                <a:gd name="connsiteX0" fmla="*/ 93567 w 93567"/>
                <a:gd name="connsiteY0" fmla="*/ 0 h 120300"/>
                <a:gd name="connsiteX1" fmla="*/ 0 w 9356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20300">
                  <a:moveTo>
                    <a:pt x="93567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7D9771C3-851C-46C0-9DEE-9C0A3048DEF8}"/>
                </a:ext>
              </a:extLst>
            </p:cNvPr>
            <p:cNvSpPr/>
            <p:nvPr/>
          </p:nvSpPr>
          <p:spPr>
            <a:xfrm>
              <a:off x="5461988" y="240243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9C9F36EE-56AC-4931-AA56-28F46406B9E1}"/>
                </a:ext>
              </a:extLst>
            </p:cNvPr>
            <p:cNvSpPr/>
            <p:nvPr/>
          </p:nvSpPr>
          <p:spPr>
            <a:xfrm>
              <a:off x="4323308" y="2859412"/>
              <a:ext cx="117516" cy="82985"/>
            </a:xfrm>
            <a:custGeom>
              <a:avLst/>
              <a:gdLst>
                <a:gd name="connsiteX0" fmla="*/ 117516 w 117516"/>
                <a:gd name="connsiteY0" fmla="*/ 0 h 82985"/>
                <a:gd name="connsiteX1" fmla="*/ 0 w 117516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2985">
                  <a:moveTo>
                    <a:pt x="117516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D6ECC9D8-2CCB-4637-AF7C-10BD7CDED275}"/>
                </a:ext>
              </a:extLst>
            </p:cNvPr>
            <p:cNvSpPr/>
            <p:nvPr/>
          </p:nvSpPr>
          <p:spPr>
            <a:xfrm>
              <a:off x="9568365" y="4247048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2171AD46-6050-4504-9357-8CFA6EE09AE7}"/>
                </a:ext>
              </a:extLst>
            </p:cNvPr>
            <p:cNvSpPr/>
            <p:nvPr/>
          </p:nvSpPr>
          <p:spPr>
            <a:xfrm>
              <a:off x="4547758" y="2153759"/>
              <a:ext cx="106934" cy="117516"/>
            </a:xfrm>
            <a:custGeom>
              <a:avLst/>
              <a:gdLst>
                <a:gd name="connsiteX0" fmla="*/ 106934 w 106934"/>
                <a:gd name="connsiteY0" fmla="*/ 0 h 117516"/>
                <a:gd name="connsiteX1" fmla="*/ 0 w 106934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516">
                  <a:moveTo>
                    <a:pt x="106934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FE0611E-6B96-4036-9A84-021726BFB021}"/>
                </a:ext>
              </a:extLst>
            </p:cNvPr>
            <p:cNvSpPr/>
            <p:nvPr/>
          </p:nvSpPr>
          <p:spPr>
            <a:xfrm>
              <a:off x="5919242" y="263496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9CA526B3-1005-4E77-B10E-EAD5D73C407C}"/>
                </a:ext>
              </a:extLst>
            </p:cNvPr>
            <p:cNvSpPr/>
            <p:nvPr/>
          </p:nvSpPr>
          <p:spPr>
            <a:xfrm>
              <a:off x="6373711" y="2859412"/>
              <a:ext cx="120300" cy="82985"/>
            </a:xfrm>
            <a:custGeom>
              <a:avLst/>
              <a:gdLst>
                <a:gd name="connsiteX0" fmla="*/ 120301 w 120300"/>
                <a:gd name="connsiteY0" fmla="*/ 0 h 82985"/>
                <a:gd name="connsiteX1" fmla="*/ 0 w 120300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985">
                  <a:moveTo>
                    <a:pt x="12030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162EC8A1-AB4E-4847-AD67-7F0469556F51}"/>
                </a:ext>
              </a:extLst>
            </p:cNvPr>
            <p:cNvSpPr/>
            <p:nvPr/>
          </p:nvSpPr>
          <p:spPr>
            <a:xfrm>
              <a:off x="9341130" y="3084140"/>
              <a:ext cx="120300" cy="82706"/>
            </a:xfrm>
            <a:custGeom>
              <a:avLst/>
              <a:gdLst>
                <a:gd name="connsiteX0" fmla="*/ 120301 w 120300"/>
                <a:gd name="connsiteY0" fmla="*/ 0 h 82706"/>
                <a:gd name="connsiteX1" fmla="*/ 0 w 120300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2706">
                  <a:moveTo>
                    <a:pt x="120301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4" name="Freeform: Shape 1053">
              <a:extLst>
                <a:ext uri="{FF2B5EF4-FFF2-40B4-BE49-F238E27FC236}">
                  <a16:creationId xmlns:a16="http://schemas.microsoft.com/office/drawing/2014/main" id="{17837A31-8718-44CD-A032-7CD4DACEE47C}"/>
                </a:ext>
              </a:extLst>
            </p:cNvPr>
            <p:cNvSpPr/>
            <p:nvPr/>
          </p:nvSpPr>
          <p:spPr>
            <a:xfrm>
              <a:off x="4780283" y="3102798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5" name="Freeform: Shape 1054">
              <a:extLst>
                <a:ext uri="{FF2B5EF4-FFF2-40B4-BE49-F238E27FC236}">
                  <a16:creationId xmlns:a16="http://schemas.microsoft.com/office/drawing/2014/main" id="{1B455E0F-945A-43BE-BC84-B8A5D589E75E}"/>
                </a:ext>
              </a:extLst>
            </p:cNvPr>
            <p:cNvSpPr/>
            <p:nvPr/>
          </p:nvSpPr>
          <p:spPr>
            <a:xfrm>
              <a:off x="7063491" y="4925967"/>
              <a:ext cx="120300" cy="42884"/>
            </a:xfrm>
            <a:custGeom>
              <a:avLst/>
              <a:gdLst>
                <a:gd name="connsiteX0" fmla="*/ 120301 w 120300"/>
                <a:gd name="connsiteY0" fmla="*/ 0 h 42884"/>
                <a:gd name="connsiteX1" fmla="*/ 0 w 120300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884">
                  <a:moveTo>
                    <a:pt x="120301" y="0"/>
                  </a:moveTo>
                  <a:lnTo>
                    <a:pt x="0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6F7D47E-5A08-47E4-AFC3-ABBB23EC4F9E}"/>
                </a:ext>
              </a:extLst>
            </p:cNvPr>
            <p:cNvSpPr/>
            <p:nvPr/>
          </p:nvSpPr>
          <p:spPr>
            <a:xfrm>
              <a:off x="2954608" y="4268490"/>
              <a:ext cx="120300" cy="23948"/>
            </a:xfrm>
            <a:custGeom>
              <a:avLst/>
              <a:gdLst>
                <a:gd name="connsiteX0" fmla="*/ 120301 w 120300"/>
                <a:gd name="connsiteY0" fmla="*/ 0 h 23948"/>
                <a:gd name="connsiteX1" fmla="*/ 0 w 12030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3948">
                  <a:moveTo>
                    <a:pt x="120301" y="0"/>
                  </a:moveTo>
                  <a:lnTo>
                    <a:pt x="0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7" name="Freeform: Shape 1056">
              <a:extLst>
                <a:ext uri="{FF2B5EF4-FFF2-40B4-BE49-F238E27FC236}">
                  <a16:creationId xmlns:a16="http://schemas.microsoft.com/office/drawing/2014/main" id="{546A8929-E2B4-4086-829C-C9E1C899595F}"/>
                </a:ext>
              </a:extLst>
            </p:cNvPr>
            <p:cNvSpPr/>
            <p:nvPr/>
          </p:nvSpPr>
          <p:spPr>
            <a:xfrm>
              <a:off x="3868838" y="3594583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8" name="Freeform: Shape 1057">
              <a:extLst>
                <a:ext uri="{FF2B5EF4-FFF2-40B4-BE49-F238E27FC236}">
                  <a16:creationId xmlns:a16="http://schemas.microsoft.com/office/drawing/2014/main" id="{03D5B625-D9E9-48C0-B7B5-3FE7D8AAF9B5}"/>
                </a:ext>
              </a:extLst>
            </p:cNvPr>
            <p:cNvSpPr/>
            <p:nvPr/>
          </p:nvSpPr>
          <p:spPr>
            <a:xfrm>
              <a:off x="1125870" y="1739389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DF7A6B17-D2F9-4549-B2A0-470D508955E3}"/>
                </a:ext>
              </a:extLst>
            </p:cNvPr>
            <p:cNvSpPr/>
            <p:nvPr/>
          </p:nvSpPr>
          <p:spPr>
            <a:xfrm>
              <a:off x="2727373" y="2640253"/>
              <a:ext cx="120300" cy="77694"/>
            </a:xfrm>
            <a:custGeom>
              <a:avLst/>
              <a:gdLst>
                <a:gd name="connsiteX0" fmla="*/ 120301 w 120300"/>
                <a:gd name="connsiteY0" fmla="*/ 0 h 77694"/>
                <a:gd name="connsiteX1" fmla="*/ 0 w 120300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694">
                  <a:moveTo>
                    <a:pt x="120301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ED84F3D3-61EF-4F91-90AD-AEAAA6D178F7}"/>
                </a:ext>
              </a:extLst>
            </p:cNvPr>
            <p:cNvSpPr/>
            <p:nvPr/>
          </p:nvSpPr>
          <p:spPr>
            <a:xfrm>
              <a:off x="5461988" y="217770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983001F0-DDC6-483F-A254-6B4CAED2C726}"/>
                </a:ext>
              </a:extLst>
            </p:cNvPr>
            <p:cNvSpPr/>
            <p:nvPr/>
          </p:nvSpPr>
          <p:spPr>
            <a:xfrm>
              <a:off x="6149261" y="3089431"/>
              <a:ext cx="120300" cy="77415"/>
            </a:xfrm>
            <a:custGeom>
              <a:avLst/>
              <a:gdLst>
                <a:gd name="connsiteX0" fmla="*/ 120300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0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59EB9DE0-F0E6-4210-A7A0-DF97B6D8B310}"/>
                </a:ext>
              </a:extLst>
            </p:cNvPr>
            <p:cNvSpPr/>
            <p:nvPr/>
          </p:nvSpPr>
          <p:spPr>
            <a:xfrm>
              <a:off x="6373711" y="5554204"/>
              <a:ext cx="120300" cy="88276"/>
            </a:xfrm>
            <a:custGeom>
              <a:avLst/>
              <a:gdLst>
                <a:gd name="connsiteX0" fmla="*/ 120301 w 120300"/>
                <a:gd name="connsiteY0" fmla="*/ 0 h 88276"/>
                <a:gd name="connsiteX1" fmla="*/ 0 w 120300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8276">
                  <a:moveTo>
                    <a:pt x="120301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5AFA4ADB-E575-4471-B25E-47C79DD3BBEE}"/>
                </a:ext>
              </a:extLst>
            </p:cNvPr>
            <p:cNvSpPr/>
            <p:nvPr/>
          </p:nvSpPr>
          <p:spPr>
            <a:xfrm>
              <a:off x="2500139" y="494741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32626DFA-D2D4-462B-B179-BB545E25A77E}"/>
                </a:ext>
              </a:extLst>
            </p:cNvPr>
            <p:cNvSpPr/>
            <p:nvPr/>
          </p:nvSpPr>
          <p:spPr>
            <a:xfrm>
              <a:off x="3409078" y="5524965"/>
              <a:ext cx="87997" cy="120300"/>
            </a:xfrm>
            <a:custGeom>
              <a:avLst/>
              <a:gdLst>
                <a:gd name="connsiteX0" fmla="*/ 87998 w 87997"/>
                <a:gd name="connsiteY0" fmla="*/ 0 h 120300"/>
                <a:gd name="connsiteX1" fmla="*/ 0 w 87997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120300">
                  <a:moveTo>
                    <a:pt x="8799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192C9265-E88F-4B2C-B391-D6195E4585AD}"/>
                </a:ext>
              </a:extLst>
            </p:cNvPr>
            <p:cNvSpPr/>
            <p:nvPr/>
          </p:nvSpPr>
          <p:spPr>
            <a:xfrm>
              <a:off x="3863547" y="2378209"/>
              <a:ext cx="106933" cy="117794"/>
            </a:xfrm>
            <a:custGeom>
              <a:avLst/>
              <a:gdLst>
                <a:gd name="connsiteX0" fmla="*/ 106934 w 106933"/>
                <a:gd name="connsiteY0" fmla="*/ 0 h 117794"/>
                <a:gd name="connsiteX1" fmla="*/ 0 w 10693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2D593FBF-5FD4-4CD1-BC16-9B3CFFD0843A}"/>
                </a:ext>
              </a:extLst>
            </p:cNvPr>
            <p:cNvSpPr/>
            <p:nvPr/>
          </p:nvSpPr>
          <p:spPr>
            <a:xfrm>
              <a:off x="5232247" y="440215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DA8ED355-DA70-4291-A672-16EA892678BA}"/>
                </a:ext>
              </a:extLst>
            </p:cNvPr>
            <p:cNvSpPr/>
            <p:nvPr/>
          </p:nvSpPr>
          <p:spPr>
            <a:xfrm>
              <a:off x="3179058" y="2378209"/>
              <a:ext cx="106934" cy="117794"/>
            </a:xfrm>
            <a:custGeom>
              <a:avLst/>
              <a:gdLst>
                <a:gd name="connsiteX0" fmla="*/ 106934 w 106934"/>
                <a:gd name="connsiteY0" fmla="*/ 0 h 117794"/>
                <a:gd name="connsiteX1" fmla="*/ 0 w 106934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7794">
                  <a:moveTo>
                    <a:pt x="10693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F1FFDC28-A726-4538-BDF5-C1A0ED598EB5}"/>
                </a:ext>
              </a:extLst>
            </p:cNvPr>
            <p:cNvSpPr/>
            <p:nvPr/>
          </p:nvSpPr>
          <p:spPr>
            <a:xfrm>
              <a:off x="7509885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0ACB2626-1213-418F-B36B-C9D00982C3C6}"/>
                </a:ext>
              </a:extLst>
            </p:cNvPr>
            <p:cNvSpPr/>
            <p:nvPr/>
          </p:nvSpPr>
          <p:spPr>
            <a:xfrm>
              <a:off x="8429406" y="2199150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12DCAF99-1C23-4ADC-AD5B-7FD101DC7852}"/>
                </a:ext>
              </a:extLst>
            </p:cNvPr>
            <p:cNvSpPr/>
            <p:nvPr/>
          </p:nvSpPr>
          <p:spPr>
            <a:xfrm>
              <a:off x="6376496" y="4685366"/>
              <a:ext cx="120300" cy="58758"/>
            </a:xfrm>
            <a:custGeom>
              <a:avLst/>
              <a:gdLst>
                <a:gd name="connsiteX0" fmla="*/ 120301 w 120300"/>
                <a:gd name="connsiteY0" fmla="*/ 0 h 58758"/>
                <a:gd name="connsiteX1" fmla="*/ 0 w 120300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8758">
                  <a:moveTo>
                    <a:pt x="120301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0C0AEA8D-394D-4F8F-B1FA-8FBAD0DD6E86}"/>
                </a:ext>
              </a:extLst>
            </p:cNvPr>
            <p:cNvSpPr/>
            <p:nvPr/>
          </p:nvSpPr>
          <p:spPr>
            <a:xfrm>
              <a:off x="3641603" y="3118949"/>
              <a:ext cx="120300" cy="47897"/>
            </a:xfrm>
            <a:custGeom>
              <a:avLst/>
              <a:gdLst>
                <a:gd name="connsiteX0" fmla="*/ 120301 w 120300"/>
                <a:gd name="connsiteY0" fmla="*/ 0 h 47897"/>
                <a:gd name="connsiteX1" fmla="*/ 0 w 120300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7897">
                  <a:moveTo>
                    <a:pt x="120301" y="0"/>
                  </a:moveTo>
                  <a:lnTo>
                    <a:pt x="0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A4E50693-6C22-40DE-BEAF-26EC9CC4A0B5}"/>
                </a:ext>
              </a:extLst>
            </p:cNvPr>
            <p:cNvSpPr/>
            <p:nvPr/>
          </p:nvSpPr>
          <p:spPr>
            <a:xfrm>
              <a:off x="9113895" y="5171860"/>
              <a:ext cx="120300" cy="21442"/>
            </a:xfrm>
            <a:custGeom>
              <a:avLst/>
              <a:gdLst>
                <a:gd name="connsiteX0" fmla="*/ 120301 w 120300"/>
                <a:gd name="connsiteY0" fmla="*/ 0 h 21442"/>
                <a:gd name="connsiteX1" fmla="*/ 0 w 12030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1442">
                  <a:moveTo>
                    <a:pt x="12030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ABD5DCF9-30FB-4F3B-A7E9-A296AF2F5438}"/>
                </a:ext>
              </a:extLst>
            </p:cNvPr>
            <p:cNvSpPr/>
            <p:nvPr/>
          </p:nvSpPr>
          <p:spPr>
            <a:xfrm>
              <a:off x="7060707" y="4680075"/>
              <a:ext cx="120300" cy="61542"/>
            </a:xfrm>
            <a:custGeom>
              <a:avLst/>
              <a:gdLst>
                <a:gd name="connsiteX0" fmla="*/ 120301 w 120300"/>
                <a:gd name="connsiteY0" fmla="*/ 0 h 61542"/>
                <a:gd name="connsiteX1" fmla="*/ 0 w 120300"/>
                <a:gd name="connsiteY1" fmla="*/ 61543 h 6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1542">
                  <a:moveTo>
                    <a:pt x="120301" y="0"/>
                  </a:moveTo>
                  <a:lnTo>
                    <a:pt x="0" y="615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E9420CC6-36F7-4CAD-91BE-04F0059D59BB}"/>
                </a:ext>
              </a:extLst>
            </p:cNvPr>
            <p:cNvSpPr/>
            <p:nvPr/>
          </p:nvSpPr>
          <p:spPr>
            <a:xfrm>
              <a:off x="4777777" y="4396588"/>
              <a:ext cx="88276" cy="120300"/>
            </a:xfrm>
            <a:custGeom>
              <a:avLst/>
              <a:gdLst>
                <a:gd name="connsiteX0" fmla="*/ 88276 w 88276"/>
                <a:gd name="connsiteY0" fmla="*/ 0 h 120300"/>
                <a:gd name="connsiteX1" fmla="*/ 0 w 88276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120300">
                  <a:moveTo>
                    <a:pt x="88276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id="{7FA2BCF2-B277-4B49-B009-EAE47863D4E4}"/>
                </a:ext>
              </a:extLst>
            </p:cNvPr>
            <p:cNvSpPr/>
            <p:nvPr/>
          </p:nvSpPr>
          <p:spPr>
            <a:xfrm>
              <a:off x="9113895" y="4674784"/>
              <a:ext cx="120300" cy="66833"/>
            </a:xfrm>
            <a:custGeom>
              <a:avLst/>
              <a:gdLst>
                <a:gd name="connsiteX0" fmla="*/ 120301 w 120300"/>
                <a:gd name="connsiteY0" fmla="*/ 0 h 66833"/>
                <a:gd name="connsiteX1" fmla="*/ 0 w 120300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6833">
                  <a:moveTo>
                    <a:pt x="120301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B67DB235-3AF5-4860-9387-50FF07720EC8}"/>
                </a:ext>
              </a:extLst>
            </p:cNvPr>
            <p:cNvSpPr/>
            <p:nvPr/>
          </p:nvSpPr>
          <p:spPr>
            <a:xfrm>
              <a:off x="6603731" y="3538610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3FC735EC-A932-45D6-B0F0-07252FA6FC6C}"/>
                </a:ext>
              </a:extLst>
            </p:cNvPr>
            <p:cNvSpPr/>
            <p:nvPr/>
          </p:nvSpPr>
          <p:spPr>
            <a:xfrm>
              <a:off x="4555833" y="434739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8" name="Freeform: Shape 1077">
              <a:extLst>
                <a:ext uri="{FF2B5EF4-FFF2-40B4-BE49-F238E27FC236}">
                  <a16:creationId xmlns:a16="http://schemas.microsoft.com/office/drawing/2014/main" id="{CFDB9E71-D9AA-4FD3-81E2-953D425B2B35}"/>
                </a:ext>
              </a:extLst>
            </p:cNvPr>
            <p:cNvSpPr/>
            <p:nvPr/>
          </p:nvSpPr>
          <p:spPr>
            <a:xfrm>
              <a:off x="3409078" y="4653341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9" name="Freeform: Shape 1078">
              <a:extLst>
                <a:ext uri="{FF2B5EF4-FFF2-40B4-BE49-F238E27FC236}">
                  <a16:creationId xmlns:a16="http://schemas.microsoft.com/office/drawing/2014/main" id="{6F617C3A-4071-405F-AC00-30C41A070D7E}"/>
                </a:ext>
              </a:extLst>
            </p:cNvPr>
            <p:cNvSpPr/>
            <p:nvPr/>
          </p:nvSpPr>
          <p:spPr>
            <a:xfrm>
              <a:off x="7060707" y="2215301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0" name="Freeform: Shape 1079">
              <a:extLst>
                <a:ext uri="{FF2B5EF4-FFF2-40B4-BE49-F238E27FC236}">
                  <a16:creationId xmlns:a16="http://schemas.microsoft.com/office/drawing/2014/main" id="{C1AC05E2-E7E3-485F-AA23-0CD3AD4B0437}"/>
                </a:ext>
              </a:extLst>
            </p:cNvPr>
            <p:cNvSpPr/>
            <p:nvPr/>
          </p:nvSpPr>
          <p:spPr>
            <a:xfrm>
              <a:off x="7290726" y="2215301"/>
              <a:ext cx="120300" cy="50682"/>
            </a:xfrm>
            <a:custGeom>
              <a:avLst/>
              <a:gdLst>
                <a:gd name="connsiteX0" fmla="*/ 120301 w 120300"/>
                <a:gd name="connsiteY0" fmla="*/ 0 h 50682"/>
                <a:gd name="connsiteX1" fmla="*/ 0 w 120300"/>
                <a:gd name="connsiteY1" fmla="*/ 50682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0682">
                  <a:moveTo>
                    <a:pt x="120301" y="0"/>
                  </a:moveTo>
                  <a:lnTo>
                    <a:pt x="0" y="506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1" name="Freeform: Shape 1080">
              <a:extLst>
                <a:ext uri="{FF2B5EF4-FFF2-40B4-BE49-F238E27FC236}">
                  <a16:creationId xmlns:a16="http://schemas.microsoft.com/office/drawing/2014/main" id="{CB4A567B-CEFC-46DA-9BCB-B232E50EFC5B}"/>
                </a:ext>
              </a:extLst>
            </p:cNvPr>
            <p:cNvSpPr/>
            <p:nvPr/>
          </p:nvSpPr>
          <p:spPr>
            <a:xfrm>
              <a:off x="5461988" y="1525521"/>
              <a:ext cx="120300" cy="64049"/>
            </a:xfrm>
            <a:custGeom>
              <a:avLst/>
              <a:gdLst>
                <a:gd name="connsiteX0" fmla="*/ 120301 w 120300"/>
                <a:gd name="connsiteY0" fmla="*/ 0 h 64049"/>
                <a:gd name="connsiteX1" fmla="*/ 0 w 120300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64049">
                  <a:moveTo>
                    <a:pt x="120301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2" name="Freeform: Shape 1081">
              <a:extLst>
                <a:ext uri="{FF2B5EF4-FFF2-40B4-BE49-F238E27FC236}">
                  <a16:creationId xmlns:a16="http://schemas.microsoft.com/office/drawing/2014/main" id="{75F4C184-E79D-41B4-A457-246312B3816B}"/>
                </a:ext>
              </a:extLst>
            </p:cNvPr>
            <p:cNvSpPr/>
            <p:nvPr/>
          </p:nvSpPr>
          <p:spPr>
            <a:xfrm>
              <a:off x="1361180" y="2225883"/>
              <a:ext cx="120300" cy="40100"/>
            </a:xfrm>
            <a:custGeom>
              <a:avLst/>
              <a:gdLst>
                <a:gd name="connsiteX0" fmla="*/ 120301 w 120300"/>
                <a:gd name="connsiteY0" fmla="*/ 0 h 40100"/>
                <a:gd name="connsiteX1" fmla="*/ 0 w 1203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0100">
                  <a:moveTo>
                    <a:pt x="120301" y="0"/>
                  </a:moveTo>
                  <a:lnTo>
                    <a:pt x="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3" name="Freeform: Shape 1082">
              <a:extLst>
                <a:ext uri="{FF2B5EF4-FFF2-40B4-BE49-F238E27FC236}">
                  <a16:creationId xmlns:a16="http://schemas.microsoft.com/office/drawing/2014/main" id="{26E0EBAC-8431-43EE-BEFE-A3E0BD3565C1}"/>
                </a:ext>
              </a:extLst>
            </p:cNvPr>
            <p:cNvSpPr/>
            <p:nvPr/>
          </p:nvSpPr>
          <p:spPr>
            <a:xfrm>
              <a:off x="9116680" y="2242035"/>
              <a:ext cx="120300" cy="26733"/>
            </a:xfrm>
            <a:custGeom>
              <a:avLst/>
              <a:gdLst>
                <a:gd name="connsiteX0" fmla="*/ 120301 w 120300"/>
                <a:gd name="connsiteY0" fmla="*/ 0 h 26733"/>
                <a:gd name="connsiteX1" fmla="*/ 0 w 120300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26733">
                  <a:moveTo>
                    <a:pt x="120301" y="0"/>
                  </a:moveTo>
                  <a:lnTo>
                    <a:pt x="0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4" name="Freeform: Shape 1083">
              <a:extLst>
                <a:ext uri="{FF2B5EF4-FFF2-40B4-BE49-F238E27FC236}">
                  <a16:creationId xmlns:a16="http://schemas.microsoft.com/office/drawing/2014/main" id="{C3E8D06E-EF14-4F46-BB82-7901010F02A7}"/>
                </a:ext>
              </a:extLst>
            </p:cNvPr>
            <p:cNvSpPr/>
            <p:nvPr/>
          </p:nvSpPr>
          <p:spPr>
            <a:xfrm>
              <a:off x="5232247" y="1514939"/>
              <a:ext cx="120300" cy="74631"/>
            </a:xfrm>
            <a:custGeom>
              <a:avLst/>
              <a:gdLst>
                <a:gd name="connsiteX0" fmla="*/ 120301 w 120300"/>
                <a:gd name="connsiteY0" fmla="*/ 0 h 74631"/>
                <a:gd name="connsiteX1" fmla="*/ 0 w 120300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4631">
                  <a:moveTo>
                    <a:pt x="120301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5" name="Freeform: Shape 1084">
              <a:extLst>
                <a:ext uri="{FF2B5EF4-FFF2-40B4-BE49-F238E27FC236}">
                  <a16:creationId xmlns:a16="http://schemas.microsoft.com/office/drawing/2014/main" id="{71B30B65-8A21-43B5-8ACC-B9F557FBFE74}"/>
                </a:ext>
              </a:extLst>
            </p:cNvPr>
            <p:cNvSpPr/>
            <p:nvPr/>
          </p:nvSpPr>
          <p:spPr>
            <a:xfrm>
              <a:off x="5916457" y="4645265"/>
              <a:ext cx="117794" cy="101643"/>
            </a:xfrm>
            <a:custGeom>
              <a:avLst/>
              <a:gdLst>
                <a:gd name="connsiteX0" fmla="*/ 117794 w 117794"/>
                <a:gd name="connsiteY0" fmla="*/ 0 h 101643"/>
                <a:gd name="connsiteX1" fmla="*/ 0 w 11779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101643">
                  <a:moveTo>
                    <a:pt x="11779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6" name="Freeform: Shape 1085">
              <a:extLst>
                <a:ext uri="{FF2B5EF4-FFF2-40B4-BE49-F238E27FC236}">
                  <a16:creationId xmlns:a16="http://schemas.microsoft.com/office/drawing/2014/main" id="{3BCE69FA-483D-4381-9842-B86C69A79855}"/>
                </a:ext>
              </a:extLst>
            </p:cNvPr>
            <p:cNvSpPr/>
            <p:nvPr/>
          </p:nvSpPr>
          <p:spPr>
            <a:xfrm>
              <a:off x="449456" y="424157"/>
              <a:ext cx="120300" cy="42606"/>
            </a:xfrm>
            <a:custGeom>
              <a:avLst/>
              <a:gdLst>
                <a:gd name="connsiteX0" fmla="*/ 120301 w 120300"/>
                <a:gd name="connsiteY0" fmla="*/ 0 h 42606"/>
                <a:gd name="connsiteX1" fmla="*/ 0 w 1203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2606">
                  <a:moveTo>
                    <a:pt x="120301" y="0"/>
                  </a:moveTo>
                  <a:lnTo>
                    <a:pt x="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7" name="Freeform: Shape 1086">
              <a:extLst>
                <a:ext uri="{FF2B5EF4-FFF2-40B4-BE49-F238E27FC236}">
                  <a16:creationId xmlns:a16="http://schemas.microsoft.com/office/drawing/2014/main" id="{D2C08B51-B5D6-4C63-BCD9-F6D7B7FBE050}"/>
                </a:ext>
              </a:extLst>
            </p:cNvPr>
            <p:cNvSpPr/>
            <p:nvPr/>
          </p:nvSpPr>
          <p:spPr>
            <a:xfrm>
              <a:off x="4325814" y="413296"/>
              <a:ext cx="120300" cy="53467"/>
            </a:xfrm>
            <a:custGeom>
              <a:avLst/>
              <a:gdLst>
                <a:gd name="connsiteX0" fmla="*/ 120301 w 120300"/>
                <a:gd name="connsiteY0" fmla="*/ 0 h 53467"/>
                <a:gd name="connsiteX1" fmla="*/ 0 w 120300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53467">
                  <a:moveTo>
                    <a:pt x="120301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1127180F-A39F-4700-BF2F-948E00207C27}"/>
                </a:ext>
              </a:extLst>
            </p:cNvPr>
            <p:cNvSpPr/>
            <p:nvPr/>
          </p:nvSpPr>
          <p:spPr>
            <a:xfrm>
              <a:off x="7969646" y="4626608"/>
              <a:ext cx="98858" cy="120300"/>
            </a:xfrm>
            <a:custGeom>
              <a:avLst/>
              <a:gdLst>
                <a:gd name="connsiteX0" fmla="*/ 98858 w 98858"/>
                <a:gd name="connsiteY0" fmla="*/ 0 h 120300"/>
                <a:gd name="connsiteX1" fmla="*/ 0 w 98858"/>
                <a:gd name="connsiteY1" fmla="*/ 120301 h 12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20300">
                  <a:moveTo>
                    <a:pt x="98858" y="0"/>
                  </a:moveTo>
                  <a:lnTo>
                    <a:pt x="0" y="1203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9" name="Freeform: Shape 1088">
              <a:extLst>
                <a:ext uri="{FF2B5EF4-FFF2-40B4-BE49-F238E27FC236}">
                  <a16:creationId xmlns:a16="http://schemas.microsoft.com/office/drawing/2014/main" id="{EECEC797-2F78-4BA3-9770-6574EA077292}"/>
                </a:ext>
              </a:extLst>
            </p:cNvPr>
            <p:cNvSpPr/>
            <p:nvPr/>
          </p:nvSpPr>
          <p:spPr>
            <a:xfrm>
              <a:off x="3866053" y="378765"/>
              <a:ext cx="120300" cy="87997"/>
            </a:xfrm>
            <a:custGeom>
              <a:avLst/>
              <a:gdLst>
                <a:gd name="connsiteX0" fmla="*/ 120301 w 120300"/>
                <a:gd name="connsiteY0" fmla="*/ 0 h 87997"/>
                <a:gd name="connsiteX1" fmla="*/ 0 w 120300"/>
                <a:gd name="connsiteY1" fmla="*/ 87998 h 8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87997">
                  <a:moveTo>
                    <a:pt x="120301" y="0"/>
                  </a:moveTo>
                  <a:lnTo>
                    <a:pt x="0" y="879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6179EEFB-CE3D-45B8-91E2-44284E834223}"/>
                </a:ext>
              </a:extLst>
            </p:cNvPr>
            <p:cNvSpPr/>
            <p:nvPr/>
          </p:nvSpPr>
          <p:spPr>
            <a:xfrm>
              <a:off x="674185" y="389347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B2F9124-4335-451D-9A33-B30A055E6347}"/>
                </a:ext>
              </a:extLst>
            </p:cNvPr>
            <p:cNvSpPr/>
            <p:nvPr/>
          </p:nvSpPr>
          <p:spPr>
            <a:xfrm>
              <a:off x="6370927" y="3316666"/>
              <a:ext cx="120300" cy="77415"/>
            </a:xfrm>
            <a:custGeom>
              <a:avLst/>
              <a:gdLst>
                <a:gd name="connsiteX0" fmla="*/ 120301 w 120300"/>
                <a:gd name="connsiteY0" fmla="*/ 0 h 77415"/>
                <a:gd name="connsiteX1" fmla="*/ 0 w 120300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77415">
                  <a:moveTo>
                    <a:pt x="12030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7B48EE9A-0C90-4451-9F84-975DA9DD2609}"/>
                </a:ext>
              </a:extLst>
            </p:cNvPr>
            <p:cNvSpPr/>
            <p:nvPr/>
          </p:nvSpPr>
          <p:spPr>
            <a:xfrm>
              <a:off x="5010303" y="3343399"/>
              <a:ext cx="120300" cy="48175"/>
            </a:xfrm>
            <a:custGeom>
              <a:avLst/>
              <a:gdLst>
                <a:gd name="connsiteX0" fmla="*/ 120301 w 120300"/>
                <a:gd name="connsiteY0" fmla="*/ 0 h 48175"/>
                <a:gd name="connsiteX1" fmla="*/ 0 w 120300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48175">
                  <a:moveTo>
                    <a:pt x="120301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E4271E19-A30A-47DF-AF97-0C1FFDE45D32}"/>
                </a:ext>
              </a:extLst>
            </p:cNvPr>
            <p:cNvSpPr/>
            <p:nvPr/>
          </p:nvSpPr>
          <p:spPr>
            <a:xfrm>
              <a:off x="4323308" y="3359551"/>
              <a:ext cx="120300" cy="32024"/>
            </a:xfrm>
            <a:custGeom>
              <a:avLst/>
              <a:gdLst>
                <a:gd name="connsiteX0" fmla="*/ 120301 w 120300"/>
                <a:gd name="connsiteY0" fmla="*/ 0 h 32024"/>
                <a:gd name="connsiteX1" fmla="*/ 0 w 120300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300" h="32024">
                  <a:moveTo>
                    <a:pt x="120301" y="0"/>
                  </a:moveTo>
                  <a:lnTo>
                    <a:pt x="0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6" name="Freeform: Shape 1095">
              <a:extLst>
                <a:ext uri="{FF2B5EF4-FFF2-40B4-BE49-F238E27FC236}">
                  <a16:creationId xmlns:a16="http://schemas.microsoft.com/office/drawing/2014/main" id="{AA696B67-1CFD-41C6-AC74-1DAB9DA24276}"/>
                </a:ext>
              </a:extLst>
            </p:cNvPr>
            <p:cNvSpPr/>
            <p:nvPr/>
          </p:nvSpPr>
          <p:spPr>
            <a:xfrm>
              <a:off x="6376496" y="5110595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8" name="Freeform: Shape 1097">
              <a:extLst>
                <a:ext uri="{FF2B5EF4-FFF2-40B4-BE49-F238E27FC236}">
                  <a16:creationId xmlns:a16="http://schemas.microsoft.com/office/drawing/2014/main" id="{BFB57669-6BFC-4779-A9AC-59D5ADEC6144}"/>
                </a:ext>
              </a:extLst>
            </p:cNvPr>
            <p:cNvSpPr/>
            <p:nvPr/>
          </p:nvSpPr>
          <p:spPr>
            <a:xfrm>
              <a:off x="9798384" y="27179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0" name="Freeform: Shape 1099">
              <a:extLst>
                <a:ext uri="{FF2B5EF4-FFF2-40B4-BE49-F238E27FC236}">
                  <a16:creationId xmlns:a16="http://schemas.microsoft.com/office/drawing/2014/main" id="{4A8A5283-35A2-42AA-9214-257824E24540}"/>
                </a:ext>
              </a:extLst>
            </p:cNvPr>
            <p:cNvSpPr/>
            <p:nvPr/>
          </p:nvSpPr>
          <p:spPr>
            <a:xfrm>
              <a:off x="5007518" y="466763"/>
              <a:ext cx="117794" cy="2784"/>
            </a:xfrm>
            <a:custGeom>
              <a:avLst/>
              <a:gdLst>
                <a:gd name="connsiteX0" fmla="*/ 117794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2" name="Freeform: Shape 1101">
              <a:extLst>
                <a:ext uri="{FF2B5EF4-FFF2-40B4-BE49-F238E27FC236}">
                  <a16:creationId xmlns:a16="http://schemas.microsoft.com/office/drawing/2014/main" id="{BF40B05C-34A6-4181-9EE5-FFC4CA941DB4}"/>
                </a:ext>
              </a:extLst>
            </p:cNvPr>
            <p:cNvSpPr/>
            <p:nvPr/>
          </p:nvSpPr>
          <p:spPr>
            <a:xfrm>
              <a:off x="901420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3" name="Freeform: Shape 1102">
              <a:extLst>
                <a:ext uri="{FF2B5EF4-FFF2-40B4-BE49-F238E27FC236}">
                  <a16:creationId xmlns:a16="http://schemas.microsoft.com/office/drawing/2014/main" id="{B28AD950-563D-479F-8BA4-09E8538E3666}"/>
                </a:ext>
              </a:extLst>
            </p:cNvPr>
            <p:cNvSpPr/>
            <p:nvPr/>
          </p:nvSpPr>
          <p:spPr>
            <a:xfrm>
              <a:off x="3184349" y="3388791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4" name="Freeform: Shape 1103">
              <a:extLst>
                <a:ext uri="{FF2B5EF4-FFF2-40B4-BE49-F238E27FC236}">
                  <a16:creationId xmlns:a16="http://schemas.microsoft.com/office/drawing/2014/main" id="{BFE4693F-C636-462F-A8EC-864C19836DC1}"/>
                </a:ext>
              </a:extLst>
            </p:cNvPr>
            <p:cNvSpPr/>
            <p:nvPr/>
          </p:nvSpPr>
          <p:spPr>
            <a:xfrm>
              <a:off x="2954608" y="3394082"/>
              <a:ext cx="117516" cy="5569"/>
            </a:xfrm>
            <a:custGeom>
              <a:avLst/>
              <a:gdLst>
                <a:gd name="connsiteX0" fmla="*/ 117516 w 117516"/>
                <a:gd name="connsiteY0" fmla="*/ 5569 h 5569"/>
                <a:gd name="connsiteX1" fmla="*/ 0 w 117516"/>
                <a:gd name="connsiteY1" fmla="*/ 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556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5" name="Freeform: Shape 1104">
              <a:extLst>
                <a:ext uri="{FF2B5EF4-FFF2-40B4-BE49-F238E27FC236}">
                  <a16:creationId xmlns:a16="http://schemas.microsoft.com/office/drawing/2014/main" id="{A0B60928-B93F-48D0-992F-B0DED698D0CF}"/>
                </a:ext>
              </a:extLst>
            </p:cNvPr>
            <p:cNvSpPr/>
            <p:nvPr/>
          </p:nvSpPr>
          <p:spPr>
            <a:xfrm>
              <a:off x="6603731" y="3303299"/>
              <a:ext cx="114731" cy="88276"/>
            </a:xfrm>
            <a:custGeom>
              <a:avLst/>
              <a:gdLst>
                <a:gd name="connsiteX0" fmla="*/ 114732 w 114731"/>
                <a:gd name="connsiteY0" fmla="*/ 0 h 88276"/>
                <a:gd name="connsiteX1" fmla="*/ 0 w 114731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8276">
                  <a:moveTo>
                    <a:pt x="114732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6" name="Freeform: Shape 1105">
              <a:extLst>
                <a:ext uri="{FF2B5EF4-FFF2-40B4-BE49-F238E27FC236}">
                  <a16:creationId xmlns:a16="http://schemas.microsoft.com/office/drawing/2014/main" id="{D70B795D-14F7-4239-A1B2-7D5E019DA98A}"/>
                </a:ext>
              </a:extLst>
            </p:cNvPr>
            <p:cNvSpPr/>
            <p:nvPr/>
          </p:nvSpPr>
          <p:spPr>
            <a:xfrm>
              <a:off x="4320523" y="1472054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EA30963B-8593-49DB-9B73-3AE8216947C3}"/>
                </a:ext>
              </a:extLst>
            </p:cNvPr>
            <p:cNvSpPr/>
            <p:nvPr/>
          </p:nvSpPr>
          <p:spPr>
            <a:xfrm>
              <a:off x="10022834" y="4292439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8" name="Freeform: Shape 1107">
              <a:extLst>
                <a:ext uri="{FF2B5EF4-FFF2-40B4-BE49-F238E27FC236}">
                  <a16:creationId xmlns:a16="http://schemas.microsoft.com/office/drawing/2014/main" id="{0A266F2C-3C8E-457D-BFB0-A3A5A4F685F3}"/>
                </a:ext>
              </a:extLst>
            </p:cNvPr>
            <p:cNvSpPr/>
            <p:nvPr/>
          </p:nvSpPr>
          <p:spPr>
            <a:xfrm>
              <a:off x="7058200" y="3501016"/>
              <a:ext cx="98858" cy="115009"/>
            </a:xfrm>
            <a:custGeom>
              <a:avLst/>
              <a:gdLst>
                <a:gd name="connsiteX0" fmla="*/ 98859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9" name="Freeform: Shape 1108">
              <a:extLst>
                <a:ext uri="{FF2B5EF4-FFF2-40B4-BE49-F238E27FC236}">
                  <a16:creationId xmlns:a16="http://schemas.microsoft.com/office/drawing/2014/main" id="{9AF49720-720C-476E-9010-FAFF58EFAF26}"/>
                </a:ext>
              </a:extLst>
            </p:cNvPr>
            <p:cNvSpPr/>
            <p:nvPr/>
          </p:nvSpPr>
          <p:spPr>
            <a:xfrm>
              <a:off x="9111110" y="3498509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286E15B2-C46D-4CF4-AA15-77300120AF7B}"/>
                </a:ext>
              </a:extLst>
            </p:cNvPr>
            <p:cNvSpPr/>
            <p:nvPr/>
          </p:nvSpPr>
          <p:spPr>
            <a:xfrm>
              <a:off x="8199665" y="4623823"/>
              <a:ext cx="96073" cy="117794"/>
            </a:xfrm>
            <a:custGeom>
              <a:avLst/>
              <a:gdLst>
                <a:gd name="connsiteX0" fmla="*/ 96074 w 96073"/>
                <a:gd name="connsiteY0" fmla="*/ 0 h 117794"/>
                <a:gd name="connsiteX1" fmla="*/ 0 w 96073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7794">
                  <a:moveTo>
                    <a:pt x="96074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B12CFEF8-F508-4881-9CE8-5C27C37D9BFB}"/>
                </a:ext>
              </a:extLst>
            </p:cNvPr>
            <p:cNvSpPr/>
            <p:nvPr/>
          </p:nvSpPr>
          <p:spPr>
            <a:xfrm>
              <a:off x="4096073" y="397423"/>
              <a:ext cx="117516" cy="69340"/>
            </a:xfrm>
            <a:custGeom>
              <a:avLst/>
              <a:gdLst>
                <a:gd name="connsiteX0" fmla="*/ 117516 w 117516"/>
                <a:gd name="connsiteY0" fmla="*/ 0 h 69340"/>
                <a:gd name="connsiteX1" fmla="*/ 0 w 117516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340">
                  <a:moveTo>
                    <a:pt x="117516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CF6F251A-DDC7-4D21-9EB0-8EC15BBFD670}"/>
                </a:ext>
              </a:extLst>
            </p:cNvPr>
            <p:cNvSpPr/>
            <p:nvPr/>
          </p:nvSpPr>
          <p:spPr>
            <a:xfrm>
              <a:off x="1585630" y="2717947"/>
              <a:ext cx="117794" cy="2784"/>
            </a:xfrm>
            <a:custGeom>
              <a:avLst/>
              <a:gdLst>
                <a:gd name="connsiteX0" fmla="*/ 117795 w 117794"/>
                <a:gd name="connsiteY0" fmla="*/ 0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FDA7D25F-3C24-43E5-AA58-D22D5E1E1A6C}"/>
                </a:ext>
              </a:extLst>
            </p:cNvPr>
            <p:cNvSpPr/>
            <p:nvPr/>
          </p:nvSpPr>
          <p:spPr>
            <a:xfrm>
              <a:off x="903926" y="1514939"/>
              <a:ext cx="117794" cy="74631"/>
            </a:xfrm>
            <a:custGeom>
              <a:avLst/>
              <a:gdLst>
                <a:gd name="connsiteX0" fmla="*/ 117794 w 117794"/>
                <a:gd name="connsiteY0" fmla="*/ 0 h 74631"/>
                <a:gd name="connsiteX1" fmla="*/ 0 w 117794"/>
                <a:gd name="connsiteY1" fmla="*/ 74631 h 74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631">
                  <a:moveTo>
                    <a:pt x="117794" y="0"/>
                  </a:moveTo>
                  <a:lnTo>
                    <a:pt x="0" y="746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6FBA0390-D7C4-42BA-8FCC-F09AF7AD7FEC}"/>
                </a:ext>
              </a:extLst>
            </p:cNvPr>
            <p:cNvSpPr/>
            <p:nvPr/>
          </p:nvSpPr>
          <p:spPr>
            <a:xfrm>
              <a:off x="6830966" y="1592355"/>
              <a:ext cx="117516" cy="2784"/>
            </a:xfrm>
            <a:custGeom>
              <a:avLst/>
              <a:gdLst>
                <a:gd name="connsiteX0" fmla="*/ 0 w 117516"/>
                <a:gd name="connsiteY0" fmla="*/ 0 h 2784"/>
                <a:gd name="connsiteX1" fmla="*/ 117516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0" y="0"/>
                  </a:moveTo>
                  <a:lnTo>
                    <a:pt x="117516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E0660CDD-5998-481E-970E-EFD33710AB97}"/>
                </a:ext>
              </a:extLst>
            </p:cNvPr>
            <p:cNvSpPr/>
            <p:nvPr/>
          </p:nvSpPr>
          <p:spPr>
            <a:xfrm>
              <a:off x="2270119" y="496885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BAB7EB39-8649-4D21-81D5-9E9E20E9BD41}"/>
                </a:ext>
              </a:extLst>
            </p:cNvPr>
            <p:cNvSpPr/>
            <p:nvPr/>
          </p:nvSpPr>
          <p:spPr>
            <a:xfrm>
              <a:off x="9568365" y="2268768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44A6F6F1-975A-4296-9E12-77A142E88E49}"/>
                </a:ext>
              </a:extLst>
            </p:cNvPr>
            <p:cNvSpPr/>
            <p:nvPr/>
          </p:nvSpPr>
          <p:spPr>
            <a:xfrm>
              <a:off x="7285435" y="4663923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373C6961-B6C8-4DC1-9921-C21ED0CB7454}"/>
                </a:ext>
              </a:extLst>
            </p:cNvPr>
            <p:cNvSpPr/>
            <p:nvPr/>
          </p:nvSpPr>
          <p:spPr>
            <a:xfrm>
              <a:off x="10022834" y="3169632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308934A4-C610-4582-BC11-ED901C0EB2FE}"/>
                </a:ext>
              </a:extLst>
            </p:cNvPr>
            <p:cNvSpPr/>
            <p:nvPr/>
          </p:nvSpPr>
          <p:spPr>
            <a:xfrm>
              <a:off x="2500139" y="3166847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118E0EB6-F15D-4960-A92A-921881DA1A72}"/>
                </a:ext>
              </a:extLst>
            </p:cNvPr>
            <p:cNvSpPr/>
            <p:nvPr/>
          </p:nvSpPr>
          <p:spPr>
            <a:xfrm>
              <a:off x="4318017" y="4402158"/>
              <a:ext cx="93567" cy="114731"/>
            </a:xfrm>
            <a:custGeom>
              <a:avLst/>
              <a:gdLst>
                <a:gd name="connsiteX0" fmla="*/ 93567 w 93567"/>
                <a:gd name="connsiteY0" fmla="*/ 0 h 114731"/>
                <a:gd name="connsiteX1" fmla="*/ 0 w 93567"/>
                <a:gd name="connsiteY1" fmla="*/ 114731 h 1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4731">
                  <a:moveTo>
                    <a:pt x="93567" y="0"/>
                  </a:moveTo>
                  <a:lnTo>
                    <a:pt x="0" y="1147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93431E73-7F86-43ED-8BDE-293052E4B299}"/>
                </a:ext>
              </a:extLst>
            </p:cNvPr>
            <p:cNvSpPr/>
            <p:nvPr/>
          </p:nvSpPr>
          <p:spPr>
            <a:xfrm>
              <a:off x="4325814" y="3108089"/>
              <a:ext cx="117794" cy="58758"/>
            </a:xfrm>
            <a:custGeom>
              <a:avLst/>
              <a:gdLst>
                <a:gd name="connsiteX0" fmla="*/ 117794 w 117794"/>
                <a:gd name="connsiteY0" fmla="*/ 0 h 58758"/>
                <a:gd name="connsiteX1" fmla="*/ 0 w 117794"/>
                <a:gd name="connsiteY1" fmla="*/ 58758 h 5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8758">
                  <a:moveTo>
                    <a:pt x="117794" y="0"/>
                  </a:moveTo>
                  <a:lnTo>
                    <a:pt x="0" y="587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8EA6CE69-3FC1-4040-BA65-3B18AE812305}"/>
                </a:ext>
              </a:extLst>
            </p:cNvPr>
            <p:cNvSpPr/>
            <p:nvPr/>
          </p:nvSpPr>
          <p:spPr>
            <a:xfrm>
              <a:off x="9113895" y="5418031"/>
              <a:ext cx="117516" cy="2506"/>
            </a:xfrm>
            <a:custGeom>
              <a:avLst/>
              <a:gdLst>
                <a:gd name="connsiteX0" fmla="*/ 117516 w 117516"/>
                <a:gd name="connsiteY0" fmla="*/ 2506 h 2506"/>
                <a:gd name="connsiteX1" fmla="*/ 0 w 117516"/>
                <a:gd name="connsiteY1" fmla="*/ 0 h 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506">
                  <a:moveTo>
                    <a:pt x="117516" y="250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791FC01E-AF80-46DE-B152-C7463877CB36}"/>
                </a:ext>
              </a:extLst>
            </p:cNvPr>
            <p:cNvSpPr/>
            <p:nvPr/>
          </p:nvSpPr>
          <p:spPr>
            <a:xfrm>
              <a:off x="6376496" y="136512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C8AB3A2B-E1D6-4668-BD03-548EDEA0AA0A}"/>
                </a:ext>
              </a:extLst>
            </p:cNvPr>
            <p:cNvSpPr/>
            <p:nvPr/>
          </p:nvSpPr>
          <p:spPr>
            <a:xfrm>
              <a:off x="5010303" y="3102798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5CFB51D8-E8B1-421B-9B15-2585DF496194}"/>
                </a:ext>
              </a:extLst>
            </p:cNvPr>
            <p:cNvSpPr/>
            <p:nvPr/>
          </p:nvSpPr>
          <p:spPr>
            <a:xfrm>
              <a:off x="9571149" y="3551976"/>
              <a:ext cx="117516" cy="64049"/>
            </a:xfrm>
            <a:custGeom>
              <a:avLst/>
              <a:gdLst>
                <a:gd name="connsiteX0" fmla="*/ 117516 w 117516"/>
                <a:gd name="connsiteY0" fmla="*/ 0 h 64049"/>
                <a:gd name="connsiteX1" fmla="*/ 0 w 117516"/>
                <a:gd name="connsiteY1" fmla="*/ 64049 h 64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049">
                  <a:moveTo>
                    <a:pt x="117516" y="0"/>
                  </a:moveTo>
                  <a:lnTo>
                    <a:pt x="0" y="640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E9BF40A-DCD5-4980-8775-264E418A5DB5}"/>
                </a:ext>
              </a:extLst>
            </p:cNvPr>
            <p:cNvSpPr/>
            <p:nvPr/>
          </p:nvSpPr>
          <p:spPr>
            <a:xfrm>
              <a:off x="896129" y="1266262"/>
              <a:ext cx="117516" cy="101643"/>
            </a:xfrm>
            <a:custGeom>
              <a:avLst/>
              <a:gdLst>
                <a:gd name="connsiteX0" fmla="*/ 117516 w 117516"/>
                <a:gd name="connsiteY0" fmla="*/ 0 h 101643"/>
                <a:gd name="connsiteX1" fmla="*/ 0 w 117516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01643">
                  <a:moveTo>
                    <a:pt x="117516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6D12830-8354-45CC-9075-BA05AFEEB103}"/>
                </a:ext>
              </a:extLst>
            </p:cNvPr>
            <p:cNvSpPr/>
            <p:nvPr/>
          </p:nvSpPr>
          <p:spPr>
            <a:xfrm>
              <a:off x="7290726" y="541246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D5EC83CE-256C-4997-844E-956916DC43EA}"/>
                </a:ext>
              </a:extLst>
            </p:cNvPr>
            <p:cNvSpPr/>
            <p:nvPr/>
          </p:nvSpPr>
          <p:spPr>
            <a:xfrm>
              <a:off x="6146477" y="5532762"/>
              <a:ext cx="106934" cy="112503"/>
            </a:xfrm>
            <a:custGeom>
              <a:avLst/>
              <a:gdLst>
                <a:gd name="connsiteX0" fmla="*/ 106934 w 106934"/>
                <a:gd name="connsiteY0" fmla="*/ 0 h 112503"/>
                <a:gd name="connsiteX1" fmla="*/ 0 w 106934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12503">
                  <a:moveTo>
                    <a:pt x="10693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A554AC66-7226-43CB-8C65-8CB485A25FD7}"/>
                </a:ext>
              </a:extLst>
            </p:cNvPr>
            <p:cNvSpPr/>
            <p:nvPr/>
          </p:nvSpPr>
          <p:spPr>
            <a:xfrm>
              <a:off x="2724589" y="2383778"/>
              <a:ext cx="106933" cy="112225"/>
            </a:xfrm>
            <a:custGeom>
              <a:avLst/>
              <a:gdLst>
                <a:gd name="connsiteX0" fmla="*/ 106934 w 106933"/>
                <a:gd name="connsiteY0" fmla="*/ 0 h 112225"/>
                <a:gd name="connsiteX1" fmla="*/ 0 w 10693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12225">
                  <a:moveTo>
                    <a:pt x="10693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B7FE9865-D5C1-4529-8CCE-B2271428325A}"/>
                </a:ext>
              </a:extLst>
            </p:cNvPr>
            <p:cNvSpPr/>
            <p:nvPr/>
          </p:nvSpPr>
          <p:spPr>
            <a:xfrm>
              <a:off x="898635" y="573697"/>
              <a:ext cx="96351" cy="117794"/>
            </a:xfrm>
            <a:custGeom>
              <a:avLst/>
              <a:gdLst>
                <a:gd name="connsiteX0" fmla="*/ 96352 w 96351"/>
                <a:gd name="connsiteY0" fmla="*/ 0 h 117794"/>
                <a:gd name="connsiteX1" fmla="*/ 0 w 96351"/>
                <a:gd name="connsiteY1" fmla="*/ 117795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7794">
                  <a:moveTo>
                    <a:pt x="96352" y="0"/>
                  </a:moveTo>
                  <a:lnTo>
                    <a:pt x="0" y="11779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7754B734-6FA0-4F98-9DF2-743CC8D78323}"/>
                </a:ext>
              </a:extLst>
            </p:cNvPr>
            <p:cNvSpPr/>
            <p:nvPr/>
          </p:nvSpPr>
          <p:spPr>
            <a:xfrm>
              <a:off x="4320523" y="1696504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024FFEC8-CB42-48FF-A0C3-6E2BD31773FB}"/>
                </a:ext>
              </a:extLst>
            </p:cNvPr>
            <p:cNvSpPr/>
            <p:nvPr/>
          </p:nvSpPr>
          <p:spPr>
            <a:xfrm>
              <a:off x="4777777" y="2389069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BF82D167-3D5F-4CA4-B0BC-2C409FAEEC8E}"/>
                </a:ext>
              </a:extLst>
            </p:cNvPr>
            <p:cNvSpPr/>
            <p:nvPr/>
          </p:nvSpPr>
          <p:spPr>
            <a:xfrm>
              <a:off x="6373711" y="30866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C58362F8-553B-4022-8EFC-A8AE02C4C339}"/>
                </a:ext>
              </a:extLst>
            </p:cNvPr>
            <p:cNvSpPr/>
            <p:nvPr/>
          </p:nvSpPr>
          <p:spPr>
            <a:xfrm>
              <a:off x="2954608" y="5562280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A0C0A8D2-D2EA-45BA-A4A6-4991DE49001B}"/>
                </a:ext>
              </a:extLst>
            </p:cNvPr>
            <p:cNvSpPr/>
            <p:nvPr/>
          </p:nvSpPr>
          <p:spPr>
            <a:xfrm>
              <a:off x="5464772" y="1739389"/>
              <a:ext cx="117516" cy="74909"/>
            </a:xfrm>
            <a:custGeom>
              <a:avLst/>
              <a:gdLst>
                <a:gd name="connsiteX0" fmla="*/ 117516 w 117516"/>
                <a:gd name="connsiteY0" fmla="*/ 0 h 74909"/>
                <a:gd name="connsiteX1" fmla="*/ 0 w 117516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4909">
                  <a:moveTo>
                    <a:pt x="117516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19B09932-DEFB-452F-B520-9F5563E0F3D4}"/>
                </a:ext>
              </a:extLst>
            </p:cNvPr>
            <p:cNvSpPr/>
            <p:nvPr/>
          </p:nvSpPr>
          <p:spPr>
            <a:xfrm>
              <a:off x="6603731" y="263774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F3B9D4BB-8414-4524-8960-5C8B7D8078FF}"/>
                </a:ext>
              </a:extLst>
            </p:cNvPr>
            <p:cNvSpPr/>
            <p:nvPr/>
          </p:nvSpPr>
          <p:spPr>
            <a:xfrm>
              <a:off x="5232247" y="2169910"/>
              <a:ext cx="117516" cy="96073"/>
            </a:xfrm>
            <a:custGeom>
              <a:avLst/>
              <a:gdLst>
                <a:gd name="connsiteX0" fmla="*/ 117516 w 117516"/>
                <a:gd name="connsiteY0" fmla="*/ 0 h 96073"/>
                <a:gd name="connsiteX1" fmla="*/ 0 w 117516"/>
                <a:gd name="connsiteY1" fmla="*/ 96074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96073">
                  <a:moveTo>
                    <a:pt x="117516" y="0"/>
                  </a:moveTo>
                  <a:lnTo>
                    <a:pt x="0" y="960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0CB76C6A-0A4A-435A-9A8F-8B847606C2FE}"/>
                </a:ext>
              </a:extLst>
            </p:cNvPr>
            <p:cNvSpPr/>
            <p:nvPr/>
          </p:nvSpPr>
          <p:spPr>
            <a:xfrm>
              <a:off x="8881369" y="2827387"/>
              <a:ext cx="104149" cy="115009"/>
            </a:xfrm>
            <a:custGeom>
              <a:avLst/>
              <a:gdLst>
                <a:gd name="connsiteX0" fmla="*/ 104149 w 104149"/>
                <a:gd name="connsiteY0" fmla="*/ 0 h 115009"/>
                <a:gd name="connsiteX1" fmla="*/ 0 w 104149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15009">
                  <a:moveTo>
                    <a:pt x="104149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A6D84700-1B24-41EE-9B69-7C644AF14637}"/>
                </a:ext>
              </a:extLst>
            </p:cNvPr>
            <p:cNvSpPr/>
            <p:nvPr/>
          </p:nvSpPr>
          <p:spPr>
            <a:xfrm>
              <a:off x="6830966" y="2851614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8B1FBD12-2595-4773-9995-24B456C6521B}"/>
                </a:ext>
              </a:extLst>
            </p:cNvPr>
            <p:cNvSpPr/>
            <p:nvPr/>
          </p:nvSpPr>
          <p:spPr>
            <a:xfrm>
              <a:off x="2500139" y="4516889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7A896CB8-6803-4A0B-8417-A2960CBD00F7}"/>
                </a:ext>
              </a:extLst>
            </p:cNvPr>
            <p:cNvSpPr/>
            <p:nvPr/>
          </p:nvSpPr>
          <p:spPr>
            <a:xfrm>
              <a:off x="4318017" y="2150974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0D0794A3-D380-4259-9C05-1FCDF87DD894}"/>
                </a:ext>
              </a:extLst>
            </p:cNvPr>
            <p:cNvSpPr/>
            <p:nvPr/>
          </p:nvSpPr>
          <p:spPr>
            <a:xfrm>
              <a:off x="5461988" y="263217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A00475E3-AD20-4A57-9D4A-5490635B746B}"/>
                </a:ext>
              </a:extLst>
            </p:cNvPr>
            <p:cNvSpPr/>
            <p:nvPr/>
          </p:nvSpPr>
          <p:spPr>
            <a:xfrm>
              <a:off x="6146477" y="1143177"/>
              <a:ext cx="117516" cy="5291"/>
            </a:xfrm>
            <a:custGeom>
              <a:avLst/>
              <a:gdLst>
                <a:gd name="connsiteX0" fmla="*/ 117516 w 117516"/>
                <a:gd name="connsiteY0" fmla="*/ 5291 h 5291"/>
                <a:gd name="connsiteX1" fmla="*/ 0 w 117516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CD42EA51-4FB3-4179-84CA-4F47E2C385F1}"/>
                </a:ext>
              </a:extLst>
            </p:cNvPr>
            <p:cNvSpPr/>
            <p:nvPr/>
          </p:nvSpPr>
          <p:spPr>
            <a:xfrm>
              <a:off x="7060707" y="2629671"/>
              <a:ext cx="117794" cy="85491"/>
            </a:xfrm>
            <a:custGeom>
              <a:avLst/>
              <a:gdLst>
                <a:gd name="connsiteX0" fmla="*/ 117795 w 117794"/>
                <a:gd name="connsiteY0" fmla="*/ 0 h 85491"/>
                <a:gd name="connsiteX1" fmla="*/ 0 w 117794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5491">
                  <a:moveTo>
                    <a:pt x="11779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F1ECEA6C-BFD0-42A7-9211-2D732F4B9034}"/>
                </a:ext>
              </a:extLst>
            </p:cNvPr>
            <p:cNvSpPr/>
            <p:nvPr/>
          </p:nvSpPr>
          <p:spPr>
            <a:xfrm>
              <a:off x="4780283" y="2862196"/>
              <a:ext cx="117794" cy="80200"/>
            </a:xfrm>
            <a:custGeom>
              <a:avLst/>
              <a:gdLst>
                <a:gd name="connsiteX0" fmla="*/ 117795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492A0C6-BEAE-46B4-8097-87C979D7CD19}"/>
                </a:ext>
              </a:extLst>
            </p:cNvPr>
            <p:cNvSpPr/>
            <p:nvPr/>
          </p:nvSpPr>
          <p:spPr>
            <a:xfrm>
              <a:off x="8204956" y="1806223"/>
              <a:ext cx="117516" cy="13366"/>
            </a:xfrm>
            <a:custGeom>
              <a:avLst/>
              <a:gdLst>
                <a:gd name="connsiteX0" fmla="*/ 117516 w 117516"/>
                <a:gd name="connsiteY0" fmla="*/ 0 h 13366"/>
                <a:gd name="connsiteX1" fmla="*/ 0 w 117516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3366">
                  <a:moveTo>
                    <a:pt x="117516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79CE8BBD-BAC2-4DCD-9752-6057544D1270}"/>
                </a:ext>
              </a:extLst>
            </p:cNvPr>
            <p:cNvSpPr/>
            <p:nvPr/>
          </p:nvSpPr>
          <p:spPr>
            <a:xfrm>
              <a:off x="5922027" y="1135101"/>
              <a:ext cx="117516" cy="5569"/>
            </a:xfrm>
            <a:custGeom>
              <a:avLst/>
              <a:gdLst>
                <a:gd name="connsiteX0" fmla="*/ 117516 w 117516"/>
                <a:gd name="connsiteY0" fmla="*/ 0 h 5569"/>
                <a:gd name="connsiteX1" fmla="*/ 0 w 117516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569">
                  <a:moveTo>
                    <a:pt x="117516" y="0"/>
                  </a:moveTo>
                  <a:lnTo>
                    <a:pt x="0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5CE8A8CB-E1EA-4792-B6D4-351A6D321EDB}"/>
                </a:ext>
              </a:extLst>
            </p:cNvPr>
            <p:cNvSpPr/>
            <p:nvPr/>
          </p:nvSpPr>
          <p:spPr>
            <a:xfrm>
              <a:off x="5010303" y="1076343"/>
              <a:ext cx="117516" cy="64327"/>
            </a:xfrm>
            <a:custGeom>
              <a:avLst/>
              <a:gdLst>
                <a:gd name="connsiteX0" fmla="*/ 117516 w 117516"/>
                <a:gd name="connsiteY0" fmla="*/ 0 h 64327"/>
                <a:gd name="connsiteX1" fmla="*/ 0 w 117516"/>
                <a:gd name="connsiteY1" fmla="*/ 64327 h 6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4327">
                  <a:moveTo>
                    <a:pt x="117516" y="0"/>
                  </a:moveTo>
                  <a:lnTo>
                    <a:pt x="0" y="643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9FEF2939-F2D3-4F92-A4EB-A6F2DD9B7498}"/>
                </a:ext>
              </a:extLst>
            </p:cNvPr>
            <p:cNvSpPr/>
            <p:nvPr/>
          </p:nvSpPr>
          <p:spPr>
            <a:xfrm>
              <a:off x="2727373" y="5589014"/>
              <a:ext cx="117516" cy="53467"/>
            </a:xfrm>
            <a:custGeom>
              <a:avLst/>
              <a:gdLst>
                <a:gd name="connsiteX0" fmla="*/ 117516 w 117516"/>
                <a:gd name="connsiteY0" fmla="*/ 0 h 53467"/>
                <a:gd name="connsiteX1" fmla="*/ 0 w 117516"/>
                <a:gd name="connsiteY1" fmla="*/ 53467 h 5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3467">
                  <a:moveTo>
                    <a:pt x="117516" y="0"/>
                  </a:moveTo>
                  <a:lnTo>
                    <a:pt x="0" y="534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9A9452F1-9E71-4DE9-A345-799E339958F9}"/>
                </a:ext>
              </a:extLst>
            </p:cNvPr>
            <p:cNvSpPr/>
            <p:nvPr/>
          </p:nvSpPr>
          <p:spPr>
            <a:xfrm>
              <a:off x="8654135" y="2407727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53ED5A87-1503-4B55-8E62-9C5F99DBC74C}"/>
                </a:ext>
              </a:extLst>
            </p:cNvPr>
            <p:cNvSpPr/>
            <p:nvPr/>
          </p:nvSpPr>
          <p:spPr>
            <a:xfrm>
              <a:off x="674185" y="1060470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77531ED0-0942-406D-AB0A-7A1420202E24}"/>
                </a:ext>
              </a:extLst>
            </p:cNvPr>
            <p:cNvSpPr/>
            <p:nvPr/>
          </p:nvSpPr>
          <p:spPr>
            <a:xfrm>
              <a:off x="6833472" y="4220314"/>
              <a:ext cx="117794" cy="69340"/>
            </a:xfrm>
            <a:custGeom>
              <a:avLst/>
              <a:gdLst>
                <a:gd name="connsiteX0" fmla="*/ 117794 w 117794"/>
                <a:gd name="connsiteY0" fmla="*/ 0 h 69340"/>
                <a:gd name="connsiteX1" fmla="*/ 0 w 117794"/>
                <a:gd name="connsiteY1" fmla="*/ 69340 h 6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69340">
                  <a:moveTo>
                    <a:pt x="117794" y="0"/>
                  </a:moveTo>
                  <a:lnTo>
                    <a:pt x="0" y="693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13C51673-338D-45B6-AA6C-8E4FFE09B4BE}"/>
                </a:ext>
              </a:extLst>
            </p:cNvPr>
            <p:cNvSpPr/>
            <p:nvPr/>
          </p:nvSpPr>
          <p:spPr>
            <a:xfrm>
              <a:off x="449456" y="643316"/>
              <a:ext cx="117794" cy="48175"/>
            </a:xfrm>
            <a:custGeom>
              <a:avLst/>
              <a:gdLst>
                <a:gd name="connsiteX0" fmla="*/ 117794 w 117794"/>
                <a:gd name="connsiteY0" fmla="*/ 0 h 48175"/>
                <a:gd name="connsiteX1" fmla="*/ 0 w 11779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48175">
                  <a:moveTo>
                    <a:pt x="117794" y="0"/>
                  </a:moveTo>
                  <a:lnTo>
                    <a:pt x="0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6D388961-3003-4F2D-8C43-342DFC0283DC}"/>
                </a:ext>
              </a:extLst>
            </p:cNvPr>
            <p:cNvSpPr/>
            <p:nvPr/>
          </p:nvSpPr>
          <p:spPr>
            <a:xfrm>
              <a:off x="8883876" y="1816805"/>
              <a:ext cx="117794" cy="5569"/>
            </a:xfrm>
            <a:custGeom>
              <a:avLst/>
              <a:gdLst>
                <a:gd name="connsiteX0" fmla="*/ 0 w 117794"/>
                <a:gd name="connsiteY0" fmla="*/ 0 h 5569"/>
                <a:gd name="connsiteX1" fmla="*/ 117794 w 117794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569">
                  <a:moveTo>
                    <a:pt x="0" y="0"/>
                  </a:moveTo>
                  <a:lnTo>
                    <a:pt x="117794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3E673B3C-4EF2-4BBA-BBEF-0A69E4859D4F}"/>
                </a:ext>
              </a:extLst>
            </p:cNvPr>
            <p:cNvSpPr/>
            <p:nvPr/>
          </p:nvSpPr>
          <p:spPr>
            <a:xfrm>
              <a:off x="6146477" y="2418309"/>
              <a:ext cx="115009" cy="77694"/>
            </a:xfrm>
            <a:custGeom>
              <a:avLst/>
              <a:gdLst>
                <a:gd name="connsiteX0" fmla="*/ 115010 w 115009"/>
                <a:gd name="connsiteY0" fmla="*/ 0 h 77694"/>
                <a:gd name="connsiteX1" fmla="*/ 0 w 115009"/>
                <a:gd name="connsiteY1" fmla="*/ 77694 h 7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7694">
                  <a:moveTo>
                    <a:pt x="115010" y="0"/>
                  </a:moveTo>
                  <a:lnTo>
                    <a:pt x="0" y="776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C351DF53-D1E3-47BE-976E-7F66CD7F5A07}"/>
                </a:ext>
              </a:extLst>
            </p:cNvPr>
            <p:cNvSpPr/>
            <p:nvPr/>
          </p:nvSpPr>
          <p:spPr>
            <a:xfrm>
              <a:off x="2040100" y="5645265"/>
              <a:ext cx="117794" cy="7797"/>
            </a:xfrm>
            <a:custGeom>
              <a:avLst/>
              <a:gdLst>
                <a:gd name="connsiteX0" fmla="*/ 117795 w 117794"/>
                <a:gd name="connsiteY0" fmla="*/ 7797 h 7797"/>
                <a:gd name="connsiteX1" fmla="*/ 0 w 117794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797">
                  <a:moveTo>
                    <a:pt x="11779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FF19CF01-7891-4713-88D6-F94D1F725D12}"/>
                </a:ext>
              </a:extLst>
            </p:cNvPr>
            <p:cNvSpPr/>
            <p:nvPr/>
          </p:nvSpPr>
          <p:spPr>
            <a:xfrm>
              <a:off x="729072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35781091-096E-4EF7-B781-3FDD12F372EA}"/>
                </a:ext>
              </a:extLst>
            </p:cNvPr>
            <p:cNvSpPr/>
            <p:nvPr/>
          </p:nvSpPr>
          <p:spPr>
            <a:xfrm>
              <a:off x="7287941" y="2418309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59E68E48-5F98-459A-B908-9BE1122E78AF}"/>
                </a:ext>
              </a:extLst>
            </p:cNvPr>
            <p:cNvSpPr/>
            <p:nvPr/>
          </p:nvSpPr>
          <p:spPr>
            <a:xfrm>
              <a:off x="7515176" y="5645265"/>
              <a:ext cx="117794" cy="5291"/>
            </a:xfrm>
            <a:custGeom>
              <a:avLst/>
              <a:gdLst>
                <a:gd name="connsiteX0" fmla="*/ 117794 w 117794"/>
                <a:gd name="connsiteY0" fmla="*/ 5291 h 5291"/>
                <a:gd name="connsiteX1" fmla="*/ 0 w 117794"/>
                <a:gd name="connsiteY1" fmla="*/ 0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5291">
                  <a:moveTo>
                    <a:pt x="117794" y="529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0C5FA85A-92A6-43C2-8E4B-76EF342368F5}"/>
                </a:ext>
              </a:extLst>
            </p:cNvPr>
            <p:cNvSpPr/>
            <p:nvPr/>
          </p:nvSpPr>
          <p:spPr>
            <a:xfrm>
              <a:off x="7745196" y="5642481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A928F5F9-D510-4E59-9F72-C579849EFDC7}"/>
                </a:ext>
              </a:extLst>
            </p:cNvPr>
            <p:cNvSpPr/>
            <p:nvPr/>
          </p:nvSpPr>
          <p:spPr>
            <a:xfrm>
              <a:off x="446950" y="1819590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D8CE8D1E-8861-4D5B-AC0B-91A5A4D4ACE0}"/>
                </a:ext>
              </a:extLst>
            </p:cNvPr>
            <p:cNvSpPr/>
            <p:nvPr/>
          </p:nvSpPr>
          <p:spPr>
            <a:xfrm>
              <a:off x="8878585" y="440995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EB644A7A-AA36-4384-BD55-8D77742A475D}"/>
                </a:ext>
              </a:extLst>
            </p:cNvPr>
            <p:cNvSpPr/>
            <p:nvPr/>
          </p:nvSpPr>
          <p:spPr>
            <a:xfrm>
              <a:off x="5461988" y="693998"/>
              <a:ext cx="117794" cy="2784"/>
            </a:xfrm>
            <a:custGeom>
              <a:avLst/>
              <a:gdLst>
                <a:gd name="connsiteX0" fmla="*/ 117794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4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9F265DA4-CE1F-4BD8-907B-CA42A170CEEA}"/>
                </a:ext>
              </a:extLst>
            </p:cNvPr>
            <p:cNvSpPr/>
            <p:nvPr/>
          </p:nvSpPr>
          <p:spPr>
            <a:xfrm>
              <a:off x="8199665" y="5642481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2785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27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42527D5F-155B-452F-B688-44605A8F5432}"/>
                </a:ext>
              </a:extLst>
            </p:cNvPr>
            <p:cNvSpPr/>
            <p:nvPr/>
          </p:nvSpPr>
          <p:spPr>
            <a:xfrm>
              <a:off x="45505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FD516A76-641F-4429-830B-9A44E305DE09}"/>
                </a:ext>
              </a:extLst>
            </p:cNvPr>
            <p:cNvSpPr/>
            <p:nvPr/>
          </p:nvSpPr>
          <p:spPr>
            <a:xfrm>
              <a:off x="8429406" y="5642481"/>
              <a:ext cx="117794" cy="2784"/>
            </a:xfrm>
            <a:custGeom>
              <a:avLst/>
              <a:gdLst>
                <a:gd name="connsiteX0" fmla="*/ 117795 w 117794"/>
                <a:gd name="connsiteY0" fmla="*/ 2785 h 2784"/>
                <a:gd name="connsiteX1" fmla="*/ 0 w 117794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2784">
                  <a:moveTo>
                    <a:pt x="117795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D5149C08-D33E-4EA4-817F-FC92142A8552}"/>
                </a:ext>
              </a:extLst>
            </p:cNvPr>
            <p:cNvSpPr/>
            <p:nvPr/>
          </p:nvSpPr>
          <p:spPr>
            <a:xfrm>
              <a:off x="9111110" y="3722959"/>
              <a:ext cx="91060" cy="117794"/>
            </a:xfrm>
            <a:custGeom>
              <a:avLst/>
              <a:gdLst>
                <a:gd name="connsiteX0" fmla="*/ 91061 w 91060"/>
                <a:gd name="connsiteY0" fmla="*/ 0 h 117794"/>
                <a:gd name="connsiteX1" fmla="*/ 0 w 91060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794">
                  <a:moveTo>
                    <a:pt x="91061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D0C611EE-D440-4CEF-A8CB-30C22B77E6CE}"/>
                </a:ext>
              </a:extLst>
            </p:cNvPr>
            <p:cNvSpPr/>
            <p:nvPr/>
          </p:nvSpPr>
          <p:spPr>
            <a:xfrm>
              <a:off x="5234753" y="2862196"/>
              <a:ext cx="117794" cy="80200"/>
            </a:xfrm>
            <a:custGeom>
              <a:avLst/>
              <a:gdLst>
                <a:gd name="connsiteX0" fmla="*/ 117794 w 117794"/>
                <a:gd name="connsiteY0" fmla="*/ 0 h 80200"/>
                <a:gd name="connsiteX1" fmla="*/ 0 w 117794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200">
                  <a:moveTo>
                    <a:pt x="117794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FDAC19DB-D60E-44E7-A959-7E4CCBF50BB1}"/>
                </a:ext>
              </a:extLst>
            </p:cNvPr>
            <p:cNvSpPr/>
            <p:nvPr/>
          </p:nvSpPr>
          <p:spPr>
            <a:xfrm>
              <a:off x="5692007" y="915942"/>
              <a:ext cx="117516" cy="2784"/>
            </a:xfrm>
            <a:custGeom>
              <a:avLst/>
              <a:gdLst>
                <a:gd name="connsiteX0" fmla="*/ 117516 w 117516"/>
                <a:gd name="connsiteY0" fmla="*/ 0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0AB9A56B-F3BA-4444-B453-A4FE3E2CCA7A}"/>
                </a:ext>
              </a:extLst>
            </p:cNvPr>
            <p:cNvSpPr/>
            <p:nvPr/>
          </p:nvSpPr>
          <p:spPr>
            <a:xfrm>
              <a:off x="3638819" y="4426106"/>
              <a:ext cx="117794" cy="90782"/>
            </a:xfrm>
            <a:custGeom>
              <a:avLst/>
              <a:gdLst>
                <a:gd name="connsiteX0" fmla="*/ 117794 w 117794"/>
                <a:gd name="connsiteY0" fmla="*/ 0 h 90782"/>
                <a:gd name="connsiteX1" fmla="*/ 0 w 117794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90782">
                  <a:moveTo>
                    <a:pt x="117794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536B389-CDEA-4700-9918-044C486FBB54}"/>
                </a:ext>
              </a:extLst>
            </p:cNvPr>
            <p:cNvSpPr/>
            <p:nvPr/>
          </p:nvSpPr>
          <p:spPr>
            <a:xfrm>
              <a:off x="5919242" y="2862196"/>
              <a:ext cx="117516" cy="80200"/>
            </a:xfrm>
            <a:custGeom>
              <a:avLst/>
              <a:gdLst>
                <a:gd name="connsiteX0" fmla="*/ 117516 w 117516"/>
                <a:gd name="connsiteY0" fmla="*/ 0 h 80200"/>
                <a:gd name="connsiteX1" fmla="*/ 0 w 117516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200">
                  <a:moveTo>
                    <a:pt x="117516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7FCE196A-5C1C-447D-9852-7355515A0C5C}"/>
                </a:ext>
              </a:extLst>
            </p:cNvPr>
            <p:cNvSpPr/>
            <p:nvPr/>
          </p:nvSpPr>
          <p:spPr>
            <a:xfrm>
              <a:off x="8656641" y="4893943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7137AB2D-3568-48D9-9216-03C8C007B297}"/>
                </a:ext>
              </a:extLst>
            </p:cNvPr>
            <p:cNvSpPr/>
            <p:nvPr/>
          </p:nvSpPr>
          <p:spPr>
            <a:xfrm>
              <a:off x="6373711" y="5332261"/>
              <a:ext cx="117516" cy="85769"/>
            </a:xfrm>
            <a:custGeom>
              <a:avLst/>
              <a:gdLst>
                <a:gd name="connsiteX0" fmla="*/ 117516 w 117516"/>
                <a:gd name="connsiteY0" fmla="*/ 0 h 85769"/>
                <a:gd name="connsiteX1" fmla="*/ 0 w 117516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769">
                  <a:moveTo>
                    <a:pt x="117516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CE7C508D-7272-4831-89FF-5E414213B176}"/>
                </a:ext>
              </a:extLst>
            </p:cNvPr>
            <p:cNvSpPr/>
            <p:nvPr/>
          </p:nvSpPr>
          <p:spPr>
            <a:xfrm>
              <a:off x="3181843" y="4883361"/>
              <a:ext cx="117516" cy="85491"/>
            </a:xfrm>
            <a:custGeom>
              <a:avLst/>
              <a:gdLst>
                <a:gd name="connsiteX0" fmla="*/ 117516 w 117516"/>
                <a:gd name="connsiteY0" fmla="*/ 0 h 85491"/>
                <a:gd name="connsiteX1" fmla="*/ 0 w 117516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5491">
                  <a:moveTo>
                    <a:pt x="117516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C346F22E-493D-4C8D-BAE3-108EA8B326D0}"/>
                </a:ext>
              </a:extLst>
            </p:cNvPr>
            <p:cNvSpPr/>
            <p:nvPr/>
          </p:nvSpPr>
          <p:spPr>
            <a:xfrm>
              <a:off x="3184349" y="3835185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8C6FD223-361F-4386-A960-AEC8CCD50FC0}"/>
                </a:ext>
              </a:extLst>
            </p:cNvPr>
            <p:cNvSpPr/>
            <p:nvPr/>
          </p:nvSpPr>
          <p:spPr>
            <a:xfrm>
              <a:off x="2954608" y="3843260"/>
              <a:ext cx="117516" cy="5291"/>
            </a:xfrm>
            <a:custGeom>
              <a:avLst/>
              <a:gdLst>
                <a:gd name="connsiteX0" fmla="*/ 0 w 117516"/>
                <a:gd name="connsiteY0" fmla="*/ 0 h 5291"/>
                <a:gd name="connsiteX1" fmla="*/ 117516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0" y="0"/>
                  </a:moveTo>
                  <a:lnTo>
                    <a:pt x="117516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7A756FB7-485C-411A-AA1A-F7356C195FB8}"/>
                </a:ext>
              </a:extLst>
            </p:cNvPr>
            <p:cNvSpPr/>
            <p:nvPr/>
          </p:nvSpPr>
          <p:spPr>
            <a:xfrm>
              <a:off x="7969646" y="4877791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29CE302F-A459-447D-A528-9BEDF5C91CBA}"/>
                </a:ext>
              </a:extLst>
            </p:cNvPr>
            <p:cNvSpPr/>
            <p:nvPr/>
          </p:nvSpPr>
          <p:spPr>
            <a:xfrm>
              <a:off x="3866053" y="2867487"/>
              <a:ext cx="117794" cy="74909"/>
            </a:xfrm>
            <a:custGeom>
              <a:avLst/>
              <a:gdLst>
                <a:gd name="connsiteX0" fmla="*/ 117794 w 117794"/>
                <a:gd name="connsiteY0" fmla="*/ 0 h 74909"/>
                <a:gd name="connsiteX1" fmla="*/ 0 w 117794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74909">
                  <a:moveTo>
                    <a:pt x="117794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449C23B4-4A39-403F-B48D-B0BE0E567709}"/>
                </a:ext>
              </a:extLst>
            </p:cNvPr>
            <p:cNvSpPr/>
            <p:nvPr/>
          </p:nvSpPr>
          <p:spPr>
            <a:xfrm>
              <a:off x="3866053" y="798426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1374EA4A-9010-4537-A1AD-AD100FACFD45}"/>
                </a:ext>
              </a:extLst>
            </p:cNvPr>
            <p:cNvSpPr/>
            <p:nvPr/>
          </p:nvSpPr>
          <p:spPr>
            <a:xfrm>
              <a:off x="3409078" y="4864424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1A9E4E96-4966-4865-B290-BCDBA07B870D}"/>
                </a:ext>
              </a:extLst>
            </p:cNvPr>
            <p:cNvSpPr/>
            <p:nvPr/>
          </p:nvSpPr>
          <p:spPr>
            <a:xfrm>
              <a:off x="5002227" y="4185505"/>
              <a:ext cx="112225" cy="106934"/>
            </a:xfrm>
            <a:custGeom>
              <a:avLst/>
              <a:gdLst>
                <a:gd name="connsiteX0" fmla="*/ 112225 w 112225"/>
                <a:gd name="connsiteY0" fmla="*/ 0 h 106934"/>
                <a:gd name="connsiteX1" fmla="*/ 0 w 112225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6934">
                  <a:moveTo>
                    <a:pt x="11222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BC89F54D-37A1-4B43-9018-1DAEE60106A2}"/>
                </a:ext>
              </a:extLst>
            </p:cNvPr>
            <p:cNvSpPr/>
            <p:nvPr/>
          </p:nvSpPr>
          <p:spPr>
            <a:xfrm>
              <a:off x="7287941" y="4172138"/>
              <a:ext cx="91060" cy="117516"/>
            </a:xfrm>
            <a:custGeom>
              <a:avLst/>
              <a:gdLst>
                <a:gd name="connsiteX0" fmla="*/ 91061 w 91060"/>
                <a:gd name="connsiteY0" fmla="*/ 0 h 117516"/>
                <a:gd name="connsiteX1" fmla="*/ 0 w 91060"/>
                <a:gd name="connsiteY1" fmla="*/ 117516 h 11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7516">
                  <a:moveTo>
                    <a:pt x="91061" y="0"/>
                  </a:moveTo>
                  <a:lnTo>
                    <a:pt x="0" y="1175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B274D17-C55A-446A-A384-2A3FD34DA884}"/>
                </a:ext>
              </a:extLst>
            </p:cNvPr>
            <p:cNvSpPr/>
            <p:nvPr/>
          </p:nvSpPr>
          <p:spPr>
            <a:xfrm>
              <a:off x="3638819" y="2872778"/>
              <a:ext cx="115009" cy="72403"/>
            </a:xfrm>
            <a:custGeom>
              <a:avLst/>
              <a:gdLst>
                <a:gd name="connsiteX0" fmla="*/ 115010 w 115009"/>
                <a:gd name="connsiteY0" fmla="*/ 0 h 72403"/>
                <a:gd name="connsiteX1" fmla="*/ 0 w 115009"/>
                <a:gd name="connsiteY1" fmla="*/ 72403 h 72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403">
                  <a:moveTo>
                    <a:pt x="115010" y="0"/>
                  </a:moveTo>
                  <a:lnTo>
                    <a:pt x="0" y="724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487C3917-5E11-425B-9A1F-5C329C9D8F03}"/>
                </a:ext>
              </a:extLst>
            </p:cNvPr>
            <p:cNvSpPr/>
            <p:nvPr/>
          </p:nvSpPr>
          <p:spPr>
            <a:xfrm>
              <a:off x="4096073" y="3995586"/>
              <a:ext cx="117516" cy="69618"/>
            </a:xfrm>
            <a:custGeom>
              <a:avLst/>
              <a:gdLst>
                <a:gd name="connsiteX0" fmla="*/ 117516 w 117516"/>
                <a:gd name="connsiteY0" fmla="*/ 0 h 69618"/>
                <a:gd name="connsiteX1" fmla="*/ 0 w 117516"/>
                <a:gd name="connsiteY1" fmla="*/ 69618 h 6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69618">
                  <a:moveTo>
                    <a:pt x="117516" y="0"/>
                  </a:moveTo>
                  <a:lnTo>
                    <a:pt x="0" y="696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6DCC31E7-5CCF-4D1E-B6A5-59D79C04F14F}"/>
                </a:ext>
              </a:extLst>
            </p:cNvPr>
            <p:cNvSpPr/>
            <p:nvPr/>
          </p:nvSpPr>
          <p:spPr>
            <a:xfrm>
              <a:off x="2040100" y="2937106"/>
              <a:ext cx="117794" cy="8075"/>
            </a:xfrm>
            <a:custGeom>
              <a:avLst/>
              <a:gdLst>
                <a:gd name="connsiteX0" fmla="*/ 117795 w 117794"/>
                <a:gd name="connsiteY0" fmla="*/ 0 h 8075"/>
                <a:gd name="connsiteX1" fmla="*/ 0 w 117794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794" h="8075">
                  <a:moveTo>
                    <a:pt x="117795" y="0"/>
                  </a:moveTo>
                  <a:lnTo>
                    <a:pt x="0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8E85A834-E5A6-46D0-864F-D4301455B272}"/>
                </a:ext>
              </a:extLst>
            </p:cNvPr>
            <p:cNvSpPr/>
            <p:nvPr/>
          </p:nvSpPr>
          <p:spPr>
            <a:xfrm>
              <a:off x="9798384" y="2926245"/>
              <a:ext cx="117516" cy="16151"/>
            </a:xfrm>
            <a:custGeom>
              <a:avLst/>
              <a:gdLst>
                <a:gd name="connsiteX0" fmla="*/ 117516 w 117516"/>
                <a:gd name="connsiteY0" fmla="*/ 0 h 16151"/>
                <a:gd name="connsiteX1" fmla="*/ 0 w 117516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16151">
                  <a:moveTo>
                    <a:pt x="117516" y="0"/>
                  </a:moveTo>
                  <a:lnTo>
                    <a:pt x="0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9CE8869E-3500-4E93-BB6B-12062B6F6A9C}"/>
                </a:ext>
              </a:extLst>
            </p:cNvPr>
            <p:cNvSpPr/>
            <p:nvPr/>
          </p:nvSpPr>
          <p:spPr>
            <a:xfrm>
              <a:off x="8426900" y="2600152"/>
              <a:ext cx="90782" cy="117794"/>
            </a:xfrm>
            <a:custGeom>
              <a:avLst/>
              <a:gdLst>
                <a:gd name="connsiteX0" fmla="*/ 90782 w 90782"/>
                <a:gd name="connsiteY0" fmla="*/ 0 h 117794"/>
                <a:gd name="connsiteX1" fmla="*/ 0 w 90782"/>
                <a:gd name="connsiteY1" fmla="*/ 117794 h 11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117794">
                  <a:moveTo>
                    <a:pt x="90782" y="0"/>
                  </a:moveTo>
                  <a:lnTo>
                    <a:pt x="0" y="1177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347C3999-215B-4708-A802-4446DD644019}"/>
                </a:ext>
              </a:extLst>
            </p:cNvPr>
            <p:cNvSpPr/>
            <p:nvPr/>
          </p:nvSpPr>
          <p:spPr>
            <a:xfrm>
              <a:off x="9113895" y="2038749"/>
              <a:ext cx="117516" cy="5291"/>
            </a:xfrm>
            <a:custGeom>
              <a:avLst/>
              <a:gdLst>
                <a:gd name="connsiteX0" fmla="*/ 117516 w 117516"/>
                <a:gd name="connsiteY0" fmla="*/ 0 h 5291"/>
                <a:gd name="connsiteX1" fmla="*/ 0 w 117516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5291">
                  <a:moveTo>
                    <a:pt x="117516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67AA821B-17C2-4CA4-820A-EEF4BBCC687E}"/>
                </a:ext>
              </a:extLst>
            </p:cNvPr>
            <p:cNvSpPr/>
            <p:nvPr/>
          </p:nvSpPr>
          <p:spPr>
            <a:xfrm>
              <a:off x="8886660" y="2022876"/>
              <a:ext cx="117516" cy="21164"/>
            </a:xfrm>
            <a:custGeom>
              <a:avLst/>
              <a:gdLst>
                <a:gd name="connsiteX0" fmla="*/ 117516 w 117516"/>
                <a:gd name="connsiteY0" fmla="*/ 0 h 21164"/>
                <a:gd name="connsiteX1" fmla="*/ 0 w 117516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1164">
                  <a:moveTo>
                    <a:pt x="117516" y="0"/>
                  </a:moveTo>
                  <a:lnTo>
                    <a:pt x="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6CAE8200-D2CA-41D8-A646-576841DAA5D8}"/>
                </a:ext>
              </a:extLst>
            </p:cNvPr>
            <p:cNvSpPr/>
            <p:nvPr/>
          </p:nvSpPr>
          <p:spPr>
            <a:xfrm>
              <a:off x="2724589" y="4067989"/>
              <a:ext cx="117516" cy="7797"/>
            </a:xfrm>
            <a:custGeom>
              <a:avLst/>
              <a:gdLst>
                <a:gd name="connsiteX0" fmla="*/ 0 w 117516"/>
                <a:gd name="connsiteY0" fmla="*/ 0 h 7797"/>
                <a:gd name="connsiteX1" fmla="*/ 117516 w 117516"/>
                <a:gd name="connsiteY1" fmla="*/ 7797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7797">
                  <a:moveTo>
                    <a:pt x="0" y="0"/>
                  </a:moveTo>
                  <a:lnTo>
                    <a:pt x="117516" y="779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58F0C02F-5833-41C0-912A-100B6FBB7768}"/>
                </a:ext>
              </a:extLst>
            </p:cNvPr>
            <p:cNvSpPr/>
            <p:nvPr/>
          </p:nvSpPr>
          <p:spPr>
            <a:xfrm>
              <a:off x="2270119" y="4744124"/>
              <a:ext cx="117516" cy="8075"/>
            </a:xfrm>
            <a:custGeom>
              <a:avLst/>
              <a:gdLst>
                <a:gd name="connsiteX0" fmla="*/ 117516 w 117516"/>
                <a:gd name="connsiteY0" fmla="*/ 8076 h 8075"/>
                <a:gd name="connsiteX1" fmla="*/ 0 w 117516"/>
                <a:gd name="connsiteY1" fmla="*/ 0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8075">
                  <a:moveTo>
                    <a:pt x="117516" y="8076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FF808514-D5CF-41DC-A347-B96E5073FEF0}"/>
                </a:ext>
              </a:extLst>
            </p:cNvPr>
            <p:cNvSpPr/>
            <p:nvPr/>
          </p:nvSpPr>
          <p:spPr>
            <a:xfrm>
              <a:off x="9798384" y="4744124"/>
              <a:ext cx="117516" cy="2784"/>
            </a:xfrm>
            <a:custGeom>
              <a:avLst/>
              <a:gdLst>
                <a:gd name="connsiteX0" fmla="*/ 117516 w 117516"/>
                <a:gd name="connsiteY0" fmla="*/ 2785 h 2784"/>
                <a:gd name="connsiteX1" fmla="*/ 0 w 117516"/>
                <a:gd name="connsiteY1" fmla="*/ 0 h 2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516" h="2784">
                  <a:moveTo>
                    <a:pt x="117516" y="278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5CB6D55C-8354-4779-B354-B68CF9A36B69}"/>
                </a:ext>
              </a:extLst>
            </p:cNvPr>
            <p:cNvSpPr/>
            <p:nvPr/>
          </p:nvSpPr>
          <p:spPr>
            <a:xfrm>
              <a:off x="2270119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005D3C9A-D504-4096-A0F6-38C84D714B4F}"/>
                </a:ext>
              </a:extLst>
            </p:cNvPr>
            <p:cNvSpPr/>
            <p:nvPr/>
          </p:nvSpPr>
          <p:spPr>
            <a:xfrm>
              <a:off x="9111110" y="2848830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9A2B3CB2-95EF-4A5D-AC28-6AE2C22D9958}"/>
                </a:ext>
              </a:extLst>
            </p:cNvPr>
            <p:cNvSpPr/>
            <p:nvPr/>
          </p:nvSpPr>
          <p:spPr>
            <a:xfrm>
              <a:off x="9111110" y="3950194"/>
              <a:ext cx="99136" cy="115009"/>
            </a:xfrm>
            <a:custGeom>
              <a:avLst/>
              <a:gdLst>
                <a:gd name="connsiteX0" fmla="*/ 99136 w 99136"/>
                <a:gd name="connsiteY0" fmla="*/ 0 h 115009"/>
                <a:gd name="connsiteX1" fmla="*/ 0 w 99136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9136" h="115009">
                  <a:moveTo>
                    <a:pt x="99136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61FBFD34-0BC7-4897-8839-6E9187D07845}"/>
                </a:ext>
              </a:extLst>
            </p:cNvPr>
            <p:cNvSpPr/>
            <p:nvPr/>
          </p:nvSpPr>
          <p:spPr>
            <a:xfrm>
              <a:off x="5002227" y="1504079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BA940AFE-B2D9-4EBE-B204-607B758A48A4}"/>
                </a:ext>
              </a:extLst>
            </p:cNvPr>
            <p:cNvSpPr/>
            <p:nvPr/>
          </p:nvSpPr>
          <p:spPr>
            <a:xfrm>
              <a:off x="4550542" y="1480130"/>
              <a:ext cx="104149" cy="109440"/>
            </a:xfrm>
            <a:custGeom>
              <a:avLst/>
              <a:gdLst>
                <a:gd name="connsiteX0" fmla="*/ 104149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49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27C1F910-98FF-46E1-BD51-9A2313DCA736}"/>
                </a:ext>
              </a:extLst>
            </p:cNvPr>
            <p:cNvSpPr/>
            <p:nvPr/>
          </p:nvSpPr>
          <p:spPr>
            <a:xfrm>
              <a:off x="7055416" y="4190796"/>
              <a:ext cx="112225" cy="101643"/>
            </a:xfrm>
            <a:custGeom>
              <a:avLst/>
              <a:gdLst>
                <a:gd name="connsiteX0" fmla="*/ 112225 w 112225"/>
                <a:gd name="connsiteY0" fmla="*/ 0 h 101643"/>
                <a:gd name="connsiteX1" fmla="*/ 0 w 112225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1643">
                  <a:moveTo>
                    <a:pt x="112225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98708E36-3AC7-49BB-A052-7A36F5196964}"/>
                </a:ext>
              </a:extLst>
            </p:cNvPr>
            <p:cNvSpPr/>
            <p:nvPr/>
          </p:nvSpPr>
          <p:spPr>
            <a:xfrm>
              <a:off x="6836257" y="1798147"/>
              <a:ext cx="115009" cy="18657"/>
            </a:xfrm>
            <a:custGeom>
              <a:avLst/>
              <a:gdLst>
                <a:gd name="connsiteX0" fmla="*/ 115010 w 115009"/>
                <a:gd name="connsiteY0" fmla="*/ 0 h 18657"/>
                <a:gd name="connsiteX1" fmla="*/ 0 w 115009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8657">
                  <a:moveTo>
                    <a:pt x="115010" y="0"/>
                  </a:moveTo>
                  <a:lnTo>
                    <a:pt x="0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9D40A339-1E22-431C-935B-446A58791BA9}"/>
                </a:ext>
              </a:extLst>
            </p:cNvPr>
            <p:cNvSpPr/>
            <p:nvPr/>
          </p:nvSpPr>
          <p:spPr>
            <a:xfrm>
              <a:off x="5686716" y="4423322"/>
              <a:ext cx="115009" cy="93567"/>
            </a:xfrm>
            <a:custGeom>
              <a:avLst/>
              <a:gdLst>
                <a:gd name="connsiteX0" fmla="*/ 115009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0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7301765F-FB6F-4326-8FE5-B46EB9A1B3C7}"/>
                </a:ext>
              </a:extLst>
            </p:cNvPr>
            <p:cNvSpPr/>
            <p:nvPr/>
          </p:nvSpPr>
          <p:spPr>
            <a:xfrm>
              <a:off x="9108604" y="4434182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99BA1A6A-C044-4C28-9D22-31F6616FF794}"/>
                </a:ext>
              </a:extLst>
            </p:cNvPr>
            <p:cNvSpPr/>
            <p:nvPr/>
          </p:nvSpPr>
          <p:spPr>
            <a:xfrm>
              <a:off x="3181843" y="5313603"/>
              <a:ext cx="109440" cy="104427"/>
            </a:xfrm>
            <a:custGeom>
              <a:avLst/>
              <a:gdLst>
                <a:gd name="connsiteX0" fmla="*/ 109440 w 109440"/>
                <a:gd name="connsiteY0" fmla="*/ 0 h 104427"/>
                <a:gd name="connsiteX1" fmla="*/ 0 w 109440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427">
                  <a:moveTo>
                    <a:pt x="109440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BA2945FF-AC95-48F2-92AB-0CB4A4FAC199}"/>
                </a:ext>
              </a:extLst>
            </p:cNvPr>
            <p:cNvSpPr/>
            <p:nvPr/>
          </p:nvSpPr>
          <p:spPr>
            <a:xfrm>
              <a:off x="1580339" y="1942675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708EE87A-5077-425A-B177-106179DFAE6A}"/>
                </a:ext>
              </a:extLst>
            </p:cNvPr>
            <p:cNvSpPr/>
            <p:nvPr/>
          </p:nvSpPr>
          <p:spPr>
            <a:xfrm>
              <a:off x="5232247" y="1947966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0E7F443F-7232-4C23-9538-72C1E414F51E}"/>
                </a:ext>
              </a:extLst>
            </p:cNvPr>
            <p:cNvSpPr/>
            <p:nvPr/>
          </p:nvSpPr>
          <p:spPr>
            <a:xfrm>
              <a:off x="3409078" y="35453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B2679BC1-0092-4622-B7A4-7E82775B4B7A}"/>
                </a:ext>
              </a:extLst>
            </p:cNvPr>
            <p:cNvSpPr/>
            <p:nvPr/>
          </p:nvSpPr>
          <p:spPr>
            <a:xfrm>
              <a:off x="6833472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1E0F10DA-ACC2-4E39-A451-78C7C7C7CF6B}"/>
                </a:ext>
              </a:extLst>
            </p:cNvPr>
            <p:cNvSpPr/>
            <p:nvPr/>
          </p:nvSpPr>
          <p:spPr>
            <a:xfrm>
              <a:off x="9341130" y="3517167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CE6E623D-DA89-4702-9740-BFD9E39832CE}"/>
                </a:ext>
              </a:extLst>
            </p:cNvPr>
            <p:cNvSpPr/>
            <p:nvPr/>
          </p:nvSpPr>
          <p:spPr>
            <a:xfrm>
              <a:off x="5007518" y="2862196"/>
              <a:ext cx="115009" cy="80200"/>
            </a:xfrm>
            <a:custGeom>
              <a:avLst/>
              <a:gdLst>
                <a:gd name="connsiteX0" fmla="*/ 115010 w 115009"/>
                <a:gd name="connsiteY0" fmla="*/ 0 h 80200"/>
                <a:gd name="connsiteX1" fmla="*/ 0 w 115009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0200">
                  <a:moveTo>
                    <a:pt x="115010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3B4ECEA4-1C20-499C-9591-D96BDF887B6D}"/>
                </a:ext>
              </a:extLst>
            </p:cNvPr>
            <p:cNvSpPr/>
            <p:nvPr/>
          </p:nvSpPr>
          <p:spPr>
            <a:xfrm>
              <a:off x="7058200" y="2843539"/>
              <a:ext cx="114731" cy="98858"/>
            </a:xfrm>
            <a:custGeom>
              <a:avLst/>
              <a:gdLst>
                <a:gd name="connsiteX0" fmla="*/ 114731 w 114731"/>
                <a:gd name="connsiteY0" fmla="*/ 0 h 98858"/>
                <a:gd name="connsiteX1" fmla="*/ 0 w 114731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8858">
                  <a:moveTo>
                    <a:pt x="114731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6BFC1962-4EDD-4A40-A809-C1D4D76F56DB}"/>
                </a:ext>
              </a:extLst>
            </p:cNvPr>
            <p:cNvSpPr/>
            <p:nvPr/>
          </p:nvSpPr>
          <p:spPr>
            <a:xfrm>
              <a:off x="3866053" y="2618810"/>
              <a:ext cx="115009" cy="99136"/>
            </a:xfrm>
            <a:custGeom>
              <a:avLst/>
              <a:gdLst>
                <a:gd name="connsiteX0" fmla="*/ 115010 w 115009"/>
                <a:gd name="connsiteY0" fmla="*/ 0 h 99136"/>
                <a:gd name="connsiteX1" fmla="*/ 0 w 115009"/>
                <a:gd name="connsiteY1" fmla="*/ 99137 h 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9136">
                  <a:moveTo>
                    <a:pt x="115010" y="0"/>
                  </a:moveTo>
                  <a:lnTo>
                    <a:pt x="0" y="9913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5DEDA7BD-3E08-4ACC-8671-5F40B47C7DE6}"/>
                </a:ext>
              </a:extLst>
            </p:cNvPr>
            <p:cNvSpPr/>
            <p:nvPr/>
          </p:nvSpPr>
          <p:spPr>
            <a:xfrm>
              <a:off x="3638819" y="4851058"/>
              <a:ext cx="93567" cy="115009"/>
            </a:xfrm>
            <a:custGeom>
              <a:avLst/>
              <a:gdLst>
                <a:gd name="connsiteX0" fmla="*/ 93567 w 93567"/>
                <a:gd name="connsiteY0" fmla="*/ 0 h 115009"/>
                <a:gd name="connsiteX1" fmla="*/ 0 w 9356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15009">
                  <a:moveTo>
                    <a:pt x="93567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AB5AE8FF-2DA9-4A25-9E6C-719249066178}"/>
                </a:ext>
              </a:extLst>
            </p:cNvPr>
            <p:cNvSpPr/>
            <p:nvPr/>
          </p:nvSpPr>
          <p:spPr>
            <a:xfrm>
              <a:off x="1810359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836235A4-C42D-4725-BB29-C42FCDFAE05D}"/>
                </a:ext>
              </a:extLst>
            </p:cNvPr>
            <p:cNvSpPr/>
            <p:nvPr/>
          </p:nvSpPr>
          <p:spPr>
            <a:xfrm>
              <a:off x="5692007" y="2183277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BB5E6BFE-9AF5-42DE-9841-E30BBFF21035}"/>
                </a:ext>
              </a:extLst>
            </p:cNvPr>
            <p:cNvSpPr/>
            <p:nvPr/>
          </p:nvSpPr>
          <p:spPr>
            <a:xfrm>
              <a:off x="8883876" y="2618810"/>
              <a:ext cx="112503" cy="96351"/>
            </a:xfrm>
            <a:custGeom>
              <a:avLst/>
              <a:gdLst>
                <a:gd name="connsiteX0" fmla="*/ 112504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4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D0C30E6A-1FCB-470F-9A7E-F58183A95BBE}"/>
                </a:ext>
              </a:extLst>
            </p:cNvPr>
            <p:cNvSpPr/>
            <p:nvPr/>
          </p:nvSpPr>
          <p:spPr>
            <a:xfrm>
              <a:off x="8199665" y="4877791"/>
              <a:ext cx="115009" cy="88276"/>
            </a:xfrm>
            <a:custGeom>
              <a:avLst/>
              <a:gdLst>
                <a:gd name="connsiteX0" fmla="*/ 115010 w 115009"/>
                <a:gd name="connsiteY0" fmla="*/ 0 h 88276"/>
                <a:gd name="connsiteX1" fmla="*/ 0 w 115009"/>
                <a:gd name="connsiteY1" fmla="*/ 88276 h 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8276">
                  <a:moveTo>
                    <a:pt x="115010" y="0"/>
                  </a:moveTo>
                  <a:lnTo>
                    <a:pt x="0" y="882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4E2B135D-812C-460B-9076-6DC2E0E39670}"/>
                </a:ext>
              </a:extLst>
            </p:cNvPr>
            <p:cNvSpPr/>
            <p:nvPr/>
          </p:nvSpPr>
          <p:spPr>
            <a:xfrm>
              <a:off x="3181843" y="5099735"/>
              <a:ext cx="114731" cy="93567"/>
            </a:xfrm>
            <a:custGeom>
              <a:avLst/>
              <a:gdLst>
                <a:gd name="connsiteX0" fmla="*/ 114731 w 114731"/>
                <a:gd name="connsiteY0" fmla="*/ 0 h 93567"/>
                <a:gd name="connsiteX1" fmla="*/ 0 w 114731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93567">
                  <a:moveTo>
                    <a:pt x="11473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EFF12035-B010-494D-8CC6-D4E37DAB3C8A}"/>
                </a:ext>
              </a:extLst>
            </p:cNvPr>
            <p:cNvSpPr/>
            <p:nvPr/>
          </p:nvSpPr>
          <p:spPr>
            <a:xfrm>
              <a:off x="3409078" y="5081077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8092DB99-E6E6-4D98-A6E8-BA54F3172741}"/>
                </a:ext>
              </a:extLst>
            </p:cNvPr>
            <p:cNvSpPr/>
            <p:nvPr/>
          </p:nvSpPr>
          <p:spPr>
            <a:xfrm>
              <a:off x="4550542" y="1047103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5151BB08-792A-4996-B643-DCE1C83DEFEE}"/>
                </a:ext>
              </a:extLst>
            </p:cNvPr>
            <p:cNvSpPr/>
            <p:nvPr/>
          </p:nvSpPr>
          <p:spPr>
            <a:xfrm>
              <a:off x="842940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7BD5B06C-9BFE-4165-BD19-CA1F9E40BD9E}"/>
                </a:ext>
              </a:extLst>
            </p:cNvPr>
            <p:cNvSpPr/>
            <p:nvPr/>
          </p:nvSpPr>
          <p:spPr>
            <a:xfrm>
              <a:off x="7745196" y="4883361"/>
              <a:ext cx="115009" cy="82706"/>
            </a:xfrm>
            <a:custGeom>
              <a:avLst/>
              <a:gdLst>
                <a:gd name="connsiteX0" fmla="*/ 115010 w 115009"/>
                <a:gd name="connsiteY0" fmla="*/ 0 h 82706"/>
                <a:gd name="connsiteX1" fmla="*/ 0 w 115009"/>
                <a:gd name="connsiteY1" fmla="*/ 82707 h 8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706">
                  <a:moveTo>
                    <a:pt x="115010" y="0"/>
                  </a:moveTo>
                  <a:lnTo>
                    <a:pt x="0" y="827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82275839-9530-4640-812F-AA19E6D249FA}"/>
                </a:ext>
              </a:extLst>
            </p:cNvPr>
            <p:cNvSpPr/>
            <p:nvPr/>
          </p:nvSpPr>
          <p:spPr>
            <a:xfrm>
              <a:off x="5692007" y="240772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D81B0BC2-CEBC-48F3-9707-4862B97D96D6}"/>
                </a:ext>
              </a:extLst>
            </p:cNvPr>
            <p:cNvSpPr/>
            <p:nvPr/>
          </p:nvSpPr>
          <p:spPr>
            <a:xfrm>
              <a:off x="5686716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BAD18911-E48C-4C7F-9606-8F8F5B799E44}"/>
                </a:ext>
              </a:extLst>
            </p:cNvPr>
            <p:cNvSpPr/>
            <p:nvPr/>
          </p:nvSpPr>
          <p:spPr>
            <a:xfrm>
              <a:off x="5237538" y="680631"/>
              <a:ext cx="115009" cy="10860"/>
            </a:xfrm>
            <a:custGeom>
              <a:avLst/>
              <a:gdLst>
                <a:gd name="connsiteX0" fmla="*/ 115010 w 115009"/>
                <a:gd name="connsiteY0" fmla="*/ 0 h 10860"/>
                <a:gd name="connsiteX1" fmla="*/ 0 w 115009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10860">
                  <a:moveTo>
                    <a:pt x="115010" y="0"/>
                  </a:moveTo>
                  <a:lnTo>
                    <a:pt x="0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B6046A71-9A9C-480C-B74E-F80B651D7C80}"/>
                </a:ext>
              </a:extLst>
            </p:cNvPr>
            <p:cNvSpPr/>
            <p:nvPr/>
          </p:nvSpPr>
          <p:spPr>
            <a:xfrm>
              <a:off x="5007518" y="2624380"/>
              <a:ext cx="112503" cy="90782"/>
            </a:xfrm>
            <a:custGeom>
              <a:avLst/>
              <a:gdLst>
                <a:gd name="connsiteX0" fmla="*/ 112503 w 112503"/>
                <a:gd name="connsiteY0" fmla="*/ 0 h 90782"/>
                <a:gd name="connsiteX1" fmla="*/ 0 w 11250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0782">
                  <a:moveTo>
                    <a:pt x="112503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18B92CAF-9F18-4081-A6FA-F09F25330CE9}"/>
                </a:ext>
              </a:extLst>
            </p:cNvPr>
            <p:cNvSpPr/>
            <p:nvPr/>
          </p:nvSpPr>
          <p:spPr>
            <a:xfrm>
              <a:off x="8424115" y="4631899"/>
              <a:ext cx="104427" cy="115009"/>
            </a:xfrm>
            <a:custGeom>
              <a:avLst/>
              <a:gdLst>
                <a:gd name="connsiteX0" fmla="*/ 104428 w 104427"/>
                <a:gd name="connsiteY0" fmla="*/ 0 h 115009"/>
                <a:gd name="connsiteX1" fmla="*/ 0 w 104427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15009">
                  <a:moveTo>
                    <a:pt x="10442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94218082-FC4C-4F73-9459-66B572F686B2}"/>
                </a:ext>
              </a:extLst>
            </p:cNvPr>
            <p:cNvSpPr/>
            <p:nvPr/>
          </p:nvSpPr>
          <p:spPr>
            <a:xfrm>
              <a:off x="8654135" y="4642759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981C858B-A4B5-4520-B576-ED8538076844}"/>
                </a:ext>
              </a:extLst>
            </p:cNvPr>
            <p:cNvSpPr/>
            <p:nvPr/>
          </p:nvSpPr>
          <p:spPr>
            <a:xfrm>
              <a:off x="8883876" y="4658632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EE7C2A89-EB76-4090-B889-A8368A2981EE}"/>
                </a:ext>
              </a:extLst>
            </p:cNvPr>
            <p:cNvSpPr/>
            <p:nvPr/>
          </p:nvSpPr>
          <p:spPr>
            <a:xfrm>
              <a:off x="3184349" y="4674784"/>
              <a:ext cx="115009" cy="66833"/>
            </a:xfrm>
            <a:custGeom>
              <a:avLst/>
              <a:gdLst>
                <a:gd name="connsiteX0" fmla="*/ 115010 w 115009"/>
                <a:gd name="connsiteY0" fmla="*/ 0 h 66833"/>
                <a:gd name="connsiteX1" fmla="*/ 0 w 115009"/>
                <a:gd name="connsiteY1" fmla="*/ 66834 h 66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66833">
                  <a:moveTo>
                    <a:pt x="115010" y="0"/>
                  </a:moveTo>
                  <a:lnTo>
                    <a:pt x="0" y="668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96D0098D-77D4-42CB-9C63-F107DFABD960}"/>
                </a:ext>
              </a:extLst>
            </p:cNvPr>
            <p:cNvSpPr/>
            <p:nvPr/>
          </p:nvSpPr>
          <p:spPr>
            <a:xfrm>
              <a:off x="9341130" y="3747187"/>
              <a:ext cx="115009" cy="93567"/>
            </a:xfrm>
            <a:custGeom>
              <a:avLst/>
              <a:gdLst>
                <a:gd name="connsiteX0" fmla="*/ 115010 w 115009"/>
                <a:gd name="connsiteY0" fmla="*/ 0 h 93567"/>
                <a:gd name="connsiteX1" fmla="*/ 0 w 11500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3567">
                  <a:moveTo>
                    <a:pt x="11501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F87075F0-A3AA-4F43-BF99-DF60D995AB79}"/>
                </a:ext>
              </a:extLst>
            </p:cNvPr>
            <p:cNvSpPr/>
            <p:nvPr/>
          </p:nvSpPr>
          <p:spPr>
            <a:xfrm>
              <a:off x="2954608" y="2632177"/>
              <a:ext cx="114731" cy="82985"/>
            </a:xfrm>
            <a:custGeom>
              <a:avLst/>
              <a:gdLst>
                <a:gd name="connsiteX0" fmla="*/ 114731 w 114731"/>
                <a:gd name="connsiteY0" fmla="*/ 0 h 82985"/>
                <a:gd name="connsiteX1" fmla="*/ 0 w 114731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82985">
                  <a:moveTo>
                    <a:pt x="114731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654A5AA6-B2C8-4764-80FC-5A2B73044D75}"/>
                </a:ext>
              </a:extLst>
            </p:cNvPr>
            <p:cNvSpPr/>
            <p:nvPr/>
          </p:nvSpPr>
          <p:spPr>
            <a:xfrm>
              <a:off x="3638819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58A0DAD1-0DBA-4F3F-A502-CCC06E32927D}"/>
                </a:ext>
              </a:extLst>
            </p:cNvPr>
            <p:cNvSpPr/>
            <p:nvPr/>
          </p:nvSpPr>
          <p:spPr>
            <a:xfrm>
              <a:off x="5692007" y="2632177"/>
              <a:ext cx="115009" cy="82985"/>
            </a:xfrm>
            <a:custGeom>
              <a:avLst/>
              <a:gdLst>
                <a:gd name="connsiteX0" fmla="*/ 115010 w 115009"/>
                <a:gd name="connsiteY0" fmla="*/ 0 h 82985"/>
                <a:gd name="connsiteX1" fmla="*/ 0 w 115009"/>
                <a:gd name="connsiteY1" fmla="*/ 82985 h 8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82985">
                  <a:moveTo>
                    <a:pt x="115010" y="0"/>
                  </a:moveTo>
                  <a:lnTo>
                    <a:pt x="0" y="829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FAFDE480-DD4F-4ADC-8996-BEA8E0D0DC77}"/>
                </a:ext>
              </a:extLst>
            </p:cNvPr>
            <p:cNvSpPr/>
            <p:nvPr/>
          </p:nvSpPr>
          <p:spPr>
            <a:xfrm>
              <a:off x="3409078" y="2380993"/>
              <a:ext cx="98858" cy="115009"/>
            </a:xfrm>
            <a:custGeom>
              <a:avLst/>
              <a:gdLst>
                <a:gd name="connsiteX0" fmla="*/ 98858 w 98858"/>
                <a:gd name="connsiteY0" fmla="*/ 0 h 115009"/>
                <a:gd name="connsiteX1" fmla="*/ 0 w 98858"/>
                <a:gd name="connsiteY1" fmla="*/ 115010 h 115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15009">
                  <a:moveTo>
                    <a:pt x="98858" y="0"/>
                  </a:moveTo>
                  <a:lnTo>
                    <a:pt x="0" y="1150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68447272-0664-4C0A-87E7-A77E7CFF430E}"/>
                </a:ext>
              </a:extLst>
            </p:cNvPr>
            <p:cNvSpPr/>
            <p:nvPr/>
          </p:nvSpPr>
          <p:spPr>
            <a:xfrm>
              <a:off x="9113895" y="2643037"/>
              <a:ext cx="115009" cy="72124"/>
            </a:xfrm>
            <a:custGeom>
              <a:avLst/>
              <a:gdLst>
                <a:gd name="connsiteX0" fmla="*/ 115010 w 115009"/>
                <a:gd name="connsiteY0" fmla="*/ 0 h 72124"/>
                <a:gd name="connsiteX1" fmla="*/ 0 w 115009"/>
                <a:gd name="connsiteY1" fmla="*/ 72125 h 7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72124">
                  <a:moveTo>
                    <a:pt x="115010" y="0"/>
                  </a:moveTo>
                  <a:lnTo>
                    <a:pt x="0" y="721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5E96781C-B96E-48D3-8E57-0A67A34D93BE}"/>
                </a:ext>
              </a:extLst>
            </p:cNvPr>
            <p:cNvSpPr/>
            <p:nvPr/>
          </p:nvSpPr>
          <p:spPr>
            <a:xfrm>
              <a:off x="6376496" y="2637746"/>
              <a:ext cx="114731" cy="77415"/>
            </a:xfrm>
            <a:custGeom>
              <a:avLst/>
              <a:gdLst>
                <a:gd name="connsiteX0" fmla="*/ 114731 w 114731"/>
                <a:gd name="connsiteY0" fmla="*/ 0 h 77415"/>
                <a:gd name="connsiteX1" fmla="*/ 0 w 114731"/>
                <a:gd name="connsiteY1" fmla="*/ 77416 h 7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731" h="77415">
                  <a:moveTo>
                    <a:pt x="114731" y="0"/>
                  </a:moveTo>
                  <a:lnTo>
                    <a:pt x="0" y="774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B031F0C1-B136-40C8-B284-8E42E4BBD85B}"/>
                </a:ext>
              </a:extLst>
            </p:cNvPr>
            <p:cNvSpPr/>
            <p:nvPr/>
          </p:nvSpPr>
          <p:spPr>
            <a:xfrm>
              <a:off x="2497354" y="2394360"/>
              <a:ext cx="115009" cy="98858"/>
            </a:xfrm>
            <a:custGeom>
              <a:avLst/>
              <a:gdLst>
                <a:gd name="connsiteX0" fmla="*/ 115010 w 115009"/>
                <a:gd name="connsiteY0" fmla="*/ 0 h 98858"/>
                <a:gd name="connsiteX1" fmla="*/ 0 w 11500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009" h="98858">
                  <a:moveTo>
                    <a:pt x="11501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E47E30B5-7E43-4B38-83B9-9E2F68F31EE3}"/>
                </a:ext>
              </a:extLst>
            </p:cNvPr>
            <p:cNvSpPr/>
            <p:nvPr/>
          </p:nvSpPr>
          <p:spPr>
            <a:xfrm>
              <a:off x="5007518" y="2394360"/>
              <a:ext cx="112503" cy="96351"/>
            </a:xfrm>
            <a:custGeom>
              <a:avLst/>
              <a:gdLst>
                <a:gd name="connsiteX0" fmla="*/ 112503 w 112503"/>
                <a:gd name="connsiteY0" fmla="*/ 0 h 96351"/>
                <a:gd name="connsiteX1" fmla="*/ 0 w 112503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96351">
                  <a:moveTo>
                    <a:pt x="11250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3741550E-78A2-485C-B65E-CCE90FA6FEFB}"/>
                </a:ext>
              </a:extLst>
            </p:cNvPr>
            <p:cNvSpPr/>
            <p:nvPr/>
          </p:nvSpPr>
          <p:spPr>
            <a:xfrm>
              <a:off x="7969646" y="2391575"/>
              <a:ext cx="109718" cy="104427"/>
            </a:xfrm>
            <a:custGeom>
              <a:avLst/>
              <a:gdLst>
                <a:gd name="connsiteX0" fmla="*/ 109719 w 109718"/>
                <a:gd name="connsiteY0" fmla="*/ 0 h 104427"/>
                <a:gd name="connsiteX1" fmla="*/ 0 w 109718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04427">
                  <a:moveTo>
                    <a:pt x="10971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1CA957F5-5933-4097-9716-7498EBF127A8}"/>
                </a:ext>
              </a:extLst>
            </p:cNvPr>
            <p:cNvSpPr/>
            <p:nvPr/>
          </p:nvSpPr>
          <p:spPr>
            <a:xfrm>
              <a:off x="7060707" y="1592355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9C3D4686-CD13-4BA1-BB58-5CB88A0C63CF}"/>
                </a:ext>
              </a:extLst>
            </p:cNvPr>
            <p:cNvSpPr/>
            <p:nvPr/>
          </p:nvSpPr>
          <p:spPr>
            <a:xfrm>
              <a:off x="4323308" y="238377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D4989EA7-7BFA-4DA5-92A9-4FF2C6AC1F03}"/>
                </a:ext>
              </a:extLst>
            </p:cNvPr>
            <p:cNvSpPr/>
            <p:nvPr/>
          </p:nvSpPr>
          <p:spPr>
            <a:xfrm>
              <a:off x="9798384" y="2493218"/>
              <a:ext cx="112225" cy="10860"/>
            </a:xfrm>
            <a:custGeom>
              <a:avLst/>
              <a:gdLst>
                <a:gd name="connsiteX0" fmla="*/ 112225 w 112225"/>
                <a:gd name="connsiteY0" fmla="*/ 10860 h 10860"/>
                <a:gd name="connsiteX1" fmla="*/ 0 w 112225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860">
                  <a:moveTo>
                    <a:pt x="112225" y="10860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C3F83BC5-2808-447D-939C-E5A43174595F}"/>
                </a:ext>
              </a:extLst>
            </p:cNvPr>
            <p:cNvSpPr/>
            <p:nvPr/>
          </p:nvSpPr>
          <p:spPr>
            <a:xfrm>
              <a:off x="4093288" y="2378209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AB97BC61-2DC8-45AC-8598-A4F456DDF47F}"/>
                </a:ext>
              </a:extLst>
            </p:cNvPr>
            <p:cNvSpPr/>
            <p:nvPr/>
          </p:nvSpPr>
          <p:spPr>
            <a:xfrm>
              <a:off x="2954608" y="2378209"/>
              <a:ext cx="101364" cy="112503"/>
            </a:xfrm>
            <a:custGeom>
              <a:avLst/>
              <a:gdLst>
                <a:gd name="connsiteX0" fmla="*/ 101365 w 101364"/>
                <a:gd name="connsiteY0" fmla="*/ 0 h 112503"/>
                <a:gd name="connsiteX1" fmla="*/ 0 w 101364"/>
                <a:gd name="connsiteY1" fmla="*/ 112504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12503">
                  <a:moveTo>
                    <a:pt x="101365" y="0"/>
                  </a:moveTo>
                  <a:lnTo>
                    <a:pt x="0" y="11250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6B575873-4684-4F86-ACA8-986BAAAF942C}"/>
                </a:ext>
              </a:extLst>
            </p:cNvPr>
            <p:cNvSpPr/>
            <p:nvPr/>
          </p:nvSpPr>
          <p:spPr>
            <a:xfrm>
              <a:off x="9111110" y="3279350"/>
              <a:ext cx="91060" cy="112225"/>
            </a:xfrm>
            <a:custGeom>
              <a:avLst/>
              <a:gdLst>
                <a:gd name="connsiteX0" fmla="*/ 91061 w 91060"/>
                <a:gd name="connsiteY0" fmla="*/ 0 h 112225"/>
                <a:gd name="connsiteX1" fmla="*/ 0 w 91060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112225">
                  <a:moveTo>
                    <a:pt x="91061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A4FA109F-32D8-42B7-B8E0-AE45B0A02AB4}"/>
                </a:ext>
              </a:extLst>
            </p:cNvPr>
            <p:cNvSpPr/>
            <p:nvPr/>
          </p:nvSpPr>
          <p:spPr>
            <a:xfrm>
              <a:off x="7058200" y="3279350"/>
              <a:ext cx="96073" cy="112225"/>
            </a:xfrm>
            <a:custGeom>
              <a:avLst/>
              <a:gdLst>
                <a:gd name="connsiteX0" fmla="*/ 96074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4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13908A89-41C2-40F3-B0CE-44DC294EDD7E}"/>
                </a:ext>
              </a:extLst>
            </p:cNvPr>
            <p:cNvSpPr/>
            <p:nvPr/>
          </p:nvSpPr>
          <p:spPr>
            <a:xfrm>
              <a:off x="7058200" y="3728250"/>
              <a:ext cx="96073" cy="112503"/>
            </a:xfrm>
            <a:custGeom>
              <a:avLst/>
              <a:gdLst>
                <a:gd name="connsiteX0" fmla="*/ 96074 w 96073"/>
                <a:gd name="connsiteY0" fmla="*/ 0 h 112503"/>
                <a:gd name="connsiteX1" fmla="*/ 0 w 96073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503">
                  <a:moveTo>
                    <a:pt x="96074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1431D96D-2DB8-4A74-98D2-7847A3ED8B01}"/>
                </a:ext>
              </a:extLst>
            </p:cNvPr>
            <p:cNvSpPr/>
            <p:nvPr/>
          </p:nvSpPr>
          <p:spPr>
            <a:xfrm>
              <a:off x="674185" y="83045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342C4F21-8EE8-48B2-B770-F5ADAFBA599E}"/>
                </a:ext>
              </a:extLst>
            </p:cNvPr>
            <p:cNvSpPr/>
            <p:nvPr/>
          </p:nvSpPr>
          <p:spPr>
            <a:xfrm>
              <a:off x="5232247" y="240243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A1DDA848-1603-4BE7-B2A3-356A5F97354E}"/>
                </a:ext>
              </a:extLst>
            </p:cNvPr>
            <p:cNvSpPr/>
            <p:nvPr/>
          </p:nvSpPr>
          <p:spPr>
            <a:xfrm>
              <a:off x="6830966" y="329522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3FC559CB-35F3-48AD-BA2D-99539B06A6B7}"/>
                </a:ext>
              </a:extLst>
            </p:cNvPr>
            <p:cNvSpPr/>
            <p:nvPr/>
          </p:nvSpPr>
          <p:spPr>
            <a:xfrm>
              <a:off x="9341130" y="3300514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78E22D93-A5AB-41FB-8390-566119F5D3C8}"/>
                </a:ext>
              </a:extLst>
            </p:cNvPr>
            <p:cNvSpPr/>
            <p:nvPr/>
          </p:nvSpPr>
          <p:spPr>
            <a:xfrm>
              <a:off x="3181843" y="2626886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96B663FB-D122-4334-82CF-E62B44799808}"/>
                </a:ext>
              </a:extLst>
            </p:cNvPr>
            <p:cNvSpPr/>
            <p:nvPr/>
          </p:nvSpPr>
          <p:spPr>
            <a:xfrm>
              <a:off x="9341130" y="3979712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207DECEA-F9BF-4934-8607-ED55F20FFC1B}"/>
                </a:ext>
              </a:extLst>
            </p:cNvPr>
            <p:cNvSpPr/>
            <p:nvPr/>
          </p:nvSpPr>
          <p:spPr>
            <a:xfrm>
              <a:off x="2045669" y="5418031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8614F8CA-9C21-4551-A5F1-256C30418963}"/>
                </a:ext>
              </a:extLst>
            </p:cNvPr>
            <p:cNvSpPr/>
            <p:nvPr/>
          </p:nvSpPr>
          <p:spPr>
            <a:xfrm>
              <a:off x="7285435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4242123-CFCB-4AB5-9F2E-C58BBC9D7D8C}"/>
                </a:ext>
              </a:extLst>
            </p:cNvPr>
            <p:cNvSpPr/>
            <p:nvPr/>
          </p:nvSpPr>
          <p:spPr>
            <a:xfrm>
              <a:off x="4550542" y="170207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0FCBA480-7167-4E4A-BCBE-BD60E2247B5D}"/>
                </a:ext>
              </a:extLst>
            </p:cNvPr>
            <p:cNvSpPr/>
            <p:nvPr/>
          </p:nvSpPr>
          <p:spPr>
            <a:xfrm>
              <a:off x="8654135" y="5645265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CF659C50-25C1-42EF-AD49-53A78077A281}"/>
                </a:ext>
              </a:extLst>
            </p:cNvPr>
            <p:cNvSpPr/>
            <p:nvPr/>
          </p:nvSpPr>
          <p:spPr>
            <a:xfrm>
              <a:off x="6603731" y="308135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B92A8C49-DBFE-4560-A94D-742000675578}"/>
                </a:ext>
              </a:extLst>
            </p:cNvPr>
            <p:cNvSpPr/>
            <p:nvPr/>
          </p:nvSpPr>
          <p:spPr>
            <a:xfrm>
              <a:off x="6830966" y="3070773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BEAD48F-48E2-4833-AD75-F12508410A5C}"/>
                </a:ext>
              </a:extLst>
            </p:cNvPr>
            <p:cNvSpPr/>
            <p:nvPr/>
          </p:nvSpPr>
          <p:spPr>
            <a:xfrm>
              <a:off x="4780283" y="3985004"/>
              <a:ext cx="112503" cy="80200"/>
            </a:xfrm>
            <a:custGeom>
              <a:avLst/>
              <a:gdLst>
                <a:gd name="connsiteX0" fmla="*/ 112503 w 112503"/>
                <a:gd name="connsiteY0" fmla="*/ 0 h 80200"/>
                <a:gd name="connsiteX1" fmla="*/ 0 w 112503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0200">
                  <a:moveTo>
                    <a:pt x="112503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0A0E51E1-4DEA-48B8-B3BB-87D9F8411956}"/>
                </a:ext>
              </a:extLst>
            </p:cNvPr>
            <p:cNvSpPr/>
            <p:nvPr/>
          </p:nvSpPr>
          <p:spPr>
            <a:xfrm>
              <a:off x="7739905" y="4631899"/>
              <a:ext cx="104149" cy="109718"/>
            </a:xfrm>
            <a:custGeom>
              <a:avLst/>
              <a:gdLst>
                <a:gd name="connsiteX0" fmla="*/ 104149 w 104149"/>
                <a:gd name="connsiteY0" fmla="*/ 0 h 109718"/>
                <a:gd name="connsiteX1" fmla="*/ 0 w 104149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718">
                  <a:moveTo>
                    <a:pt x="104149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1D61BA01-6432-4DBF-8856-A0FC6BA37922}"/>
                </a:ext>
              </a:extLst>
            </p:cNvPr>
            <p:cNvSpPr/>
            <p:nvPr/>
          </p:nvSpPr>
          <p:spPr>
            <a:xfrm>
              <a:off x="3409078" y="2626886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258FF33E-3D8D-45DF-9A10-C4A78FEB0983}"/>
                </a:ext>
              </a:extLst>
            </p:cNvPr>
            <p:cNvSpPr/>
            <p:nvPr/>
          </p:nvSpPr>
          <p:spPr>
            <a:xfrm>
              <a:off x="898635" y="1028167"/>
              <a:ext cx="101642" cy="112503"/>
            </a:xfrm>
            <a:custGeom>
              <a:avLst/>
              <a:gdLst>
                <a:gd name="connsiteX0" fmla="*/ 101643 w 101642"/>
                <a:gd name="connsiteY0" fmla="*/ 0 h 112503"/>
                <a:gd name="connsiteX1" fmla="*/ 0 w 101642"/>
                <a:gd name="connsiteY1" fmla="*/ 112503 h 112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503">
                  <a:moveTo>
                    <a:pt x="101643" y="0"/>
                  </a:moveTo>
                  <a:lnTo>
                    <a:pt x="0" y="1125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AAD754F7-B71A-4C63-A335-598790D8E41A}"/>
                </a:ext>
              </a:extLst>
            </p:cNvPr>
            <p:cNvSpPr/>
            <p:nvPr/>
          </p:nvSpPr>
          <p:spPr>
            <a:xfrm>
              <a:off x="6833472" y="3985004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0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A399F989-84A6-45F2-943F-B2A8A6A2C179}"/>
                </a:ext>
              </a:extLst>
            </p:cNvPr>
            <p:cNvSpPr/>
            <p:nvPr/>
          </p:nvSpPr>
          <p:spPr>
            <a:xfrm>
              <a:off x="2500139" y="4295224"/>
              <a:ext cx="112225" cy="7797"/>
            </a:xfrm>
            <a:custGeom>
              <a:avLst/>
              <a:gdLst>
                <a:gd name="connsiteX0" fmla="*/ 112225 w 112225"/>
                <a:gd name="connsiteY0" fmla="*/ 7797 h 7797"/>
                <a:gd name="connsiteX1" fmla="*/ 0 w 112225"/>
                <a:gd name="connsiteY1" fmla="*/ 0 h 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797">
                  <a:moveTo>
                    <a:pt x="112225" y="779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CEB9422F-003D-42F4-9EE5-54067F64C379}"/>
                </a:ext>
              </a:extLst>
            </p:cNvPr>
            <p:cNvSpPr/>
            <p:nvPr/>
          </p:nvSpPr>
          <p:spPr>
            <a:xfrm>
              <a:off x="1815650" y="2942397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73B03C82-5AFF-4256-89D6-8DBFF37D25D8}"/>
                </a:ext>
              </a:extLst>
            </p:cNvPr>
            <p:cNvSpPr/>
            <p:nvPr/>
          </p:nvSpPr>
          <p:spPr>
            <a:xfrm>
              <a:off x="4780283" y="1065761"/>
              <a:ext cx="112503" cy="74909"/>
            </a:xfrm>
            <a:custGeom>
              <a:avLst/>
              <a:gdLst>
                <a:gd name="connsiteX0" fmla="*/ 112503 w 112503"/>
                <a:gd name="connsiteY0" fmla="*/ 0 h 74909"/>
                <a:gd name="connsiteX1" fmla="*/ 0 w 112503"/>
                <a:gd name="connsiteY1" fmla="*/ 74909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74909">
                  <a:moveTo>
                    <a:pt x="112503" y="0"/>
                  </a:moveTo>
                  <a:lnTo>
                    <a:pt x="0" y="749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0493B2D2-F909-4153-8187-ED1ECD9663CB}"/>
                </a:ext>
              </a:extLst>
            </p:cNvPr>
            <p:cNvSpPr/>
            <p:nvPr/>
          </p:nvSpPr>
          <p:spPr>
            <a:xfrm>
              <a:off x="5237538" y="466763"/>
              <a:ext cx="112225" cy="13366"/>
            </a:xfrm>
            <a:custGeom>
              <a:avLst/>
              <a:gdLst>
                <a:gd name="connsiteX0" fmla="*/ 112225 w 112225"/>
                <a:gd name="connsiteY0" fmla="*/ 13367 h 13366"/>
                <a:gd name="connsiteX1" fmla="*/ 0 w 112225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112225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8A3D856C-2818-46CD-95E4-F8658A45A545}"/>
                </a:ext>
              </a:extLst>
            </p:cNvPr>
            <p:cNvSpPr/>
            <p:nvPr/>
          </p:nvSpPr>
          <p:spPr>
            <a:xfrm>
              <a:off x="1812865" y="1926524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96C0AD4-7546-409A-94E7-38EEB028671F}"/>
                </a:ext>
              </a:extLst>
            </p:cNvPr>
            <p:cNvSpPr/>
            <p:nvPr/>
          </p:nvSpPr>
          <p:spPr>
            <a:xfrm>
              <a:off x="4093288" y="262159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B8BC5184-1191-46BA-AA20-A687F6AC520F}"/>
                </a:ext>
              </a:extLst>
            </p:cNvPr>
            <p:cNvSpPr/>
            <p:nvPr/>
          </p:nvSpPr>
          <p:spPr>
            <a:xfrm>
              <a:off x="4550542" y="1926524"/>
              <a:ext cx="96073" cy="112225"/>
            </a:xfrm>
            <a:custGeom>
              <a:avLst/>
              <a:gdLst>
                <a:gd name="connsiteX0" fmla="*/ 96073 w 96073"/>
                <a:gd name="connsiteY0" fmla="*/ 0 h 112225"/>
                <a:gd name="connsiteX1" fmla="*/ 0 w 96073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112225">
                  <a:moveTo>
                    <a:pt x="9607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14C62306-8E53-4C76-B2C9-7D4C35DBD2FE}"/>
                </a:ext>
              </a:extLst>
            </p:cNvPr>
            <p:cNvSpPr/>
            <p:nvPr/>
          </p:nvSpPr>
          <p:spPr>
            <a:xfrm>
              <a:off x="5464772" y="1958548"/>
              <a:ext cx="112225" cy="80200"/>
            </a:xfrm>
            <a:custGeom>
              <a:avLst/>
              <a:gdLst>
                <a:gd name="connsiteX0" fmla="*/ 112225 w 112225"/>
                <a:gd name="connsiteY0" fmla="*/ 0 h 80200"/>
                <a:gd name="connsiteX1" fmla="*/ 0 w 112225"/>
                <a:gd name="connsiteY1" fmla="*/ 80201 h 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200">
                  <a:moveTo>
                    <a:pt x="112225" y="0"/>
                  </a:moveTo>
                  <a:lnTo>
                    <a:pt x="0" y="8020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85962A67-52B3-4D0E-BBAC-971A3D663525}"/>
                </a:ext>
              </a:extLst>
            </p:cNvPr>
            <p:cNvSpPr/>
            <p:nvPr/>
          </p:nvSpPr>
          <p:spPr>
            <a:xfrm>
              <a:off x="901420" y="352032"/>
              <a:ext cx="101642" cy="112225"/>
            </a:xfrm>
            <a:custGeom>
              <a:avLst/>
              <a:gdLst>
                <a:gd name="connsiteX0" fmla="*/ 101643 w 101642"/>
                <a:gd name="connsiteY0" fmla="*/ 0 h 112225"/>
                <a:gd name="connsiteX1" fmla="*/ 0 w 101642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12225">
                  <a:moveTo>
                    <a:pt x="101643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C190D517-0C97-4493-A5F5-7156B229396A}"/>
                </a:ext>
              </a:extLst>
            </p:cNvPr>
            <p:cNvSpPr/>
            <p:nvPr/>
          </p:nvSpPr>
          <p:spPr>
            <a:xfrm>
              <a:off x="8199665" y="1592355"/>
              <a:ext cx="112225" cy="13366"/>
            </a:xfrm>
            <a:custGeom>
              <a:avLst/>
              <a:gdLst>
                <a:gd name="connsiteX0" fmla="*/ 0 w 112225"/>
                <a:gd name="connsiteY0" fmla="*/ 0 h 13366"/>
                <a:gd name="connsiteX1" fmla="*/ 112225 w 112225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3366">
                  <a:moveTo>
                    <a:pt x="0" y="0"/>
                  </a:moveTo>
                  <a:lnTo>
                    <a:pt x="112225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A3B2B0A6-5218-47CD-99A4-6675CF95CD7D}"/>
                </a:ext>
              </a:extLst>
            </p:cNvPr>
            <p:cNvSpPr/>
            <p:nvPr/>
          </p:nvSpPr>
          <p:spPr>
            <a:xfrm>
              <a:off x="4320523" y="825159"/>
              <a:ext cx="112225" cy="90782"/>
            </a:xfrm>
            <a:custGeom>
              <a:avLst/>
              <a:gdLst>
                <a:gd name="connsiteX0" fmla="*/ 112225 w 112225"/>
                <a:gd name="connsiteY0" fmla="*/ 0 h 90782"/>
                <a:gd name="connsiteX1" fmla="*/ 0 w 112225"/>
                <a:gd name="connsiteY1" fmla="*/ 90783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0782">
                  <a:moveTo>
                    <a:pt x="112225" y="0"/>
                  </a:moveTo>
                  <a:lnTo>
                    <a:pt x="0" y="9078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550E110F-099D-4319-9F0D-2188E3854103}"/>
                </a:ext>
              </a:extLst>
            </p:cNvPr>
            <p:cNvSpPr/>
            <p:nvPr/>
          </p:nvSpPr>
          <p:spPr>
            <a:xfrm>
              <a:off x="5464772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9B615AE5-0B3E-4F78-8F63-57AFC031FAFF}"/>
                </a:ext>
              </a:extLst>
            </p:cNvPr>
            <p:cNvSpPr/>
            <p:nvPr/>
          </p:nvSpPr>
          <p:spPr>
            <a:xfrm>
              <a:off x="4096073" y="2867487"/>
              <a:ext cx="112225" cy="74909"/>
            </a:xfrm>
            <a:custGeom>
              <a:avLst/>
              <a:gdLst>
                <a:gd name="connsiteX0" fmla="*/ 112225 w 112225"/>
                <a:gd name="connsiteY0" fmla="*/ 0 h 74909"/>
                <a:gd name="connsiteX1" fmla="*/ 0 w 112225"/>
                <a:gd name="connsiteY1" fmla="*/ 74910 h 7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74909">
                  <a:moveTo>
                    <a:pt x="112225" y="0"/>
                  </a:moveTo>
                  <a:lnTo>
                    <a:pt x="0" y="7491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FA552FF-FB50-4629-8F6E-FA61A62742A3}"/>
                </a:ext>
              </a:extLst>
            </p:cNvPr>
            <p:cNvSpPr/>
            <p:nvPr/>
          </p:nvSpPr>
          <p:spPr>
            <a:xfrm>
              <a:off x="6606237" y="1367905"/>
              <a:ext cx="112225" cy="10582"/>
            </a:xfrm>
            <a:custGeom>
              <a:avLst/>
              <a:gdLst>
                <a:gd name="connsiteX0" fmla="*/ 0 w 112225"/>
                <a:gd name="connsiteY0" fmla="*/ 0 h 10582"/>
                <a:gd name="connsiteX1" fmla="*/ 112225 w 112225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0582">
                  <a:moveTo>
                    <a:pt x="0" y="0"/>
                  </a:moveTo>
                  <a:lnTo>
                    <a:pt x="11222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787ACC90-BD4D-42B8-8355-8549626416B4}"/>
                </a:ext>
              </a:extLst>
            </p:cNvPr>
            <p:cNvSpPr/>
            <p:nvPr/>
          </p:nvSpPr>
          <p:spPr>
            <a:xfrm>
              <a:off x="4780283" y="1271553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179150F0-8DFA-47D7-B91C-BA6A54AAF5D5}"/>
                </a:ext>
              </a:extLst>
            </p:cNvPr>
            <p:cNvSpPr/>
            <p:nvPr/>
          </p:nvSpPr>
          <p:spPr>
            <a:xfrm>
              <a:off x="2724589" y="3843260"/>
              <a:ext cx="112225" cy="16151"/>
            </a:xfrm>
            <a:custGeom>
              <a:avLst/>
              <a:gdLst>
                <a:gd name="connsiteX0" fmla="*/ 0 w 112225"/>
                <a:gd name="connsiteY0" fmla="*/ 0 h 16151"/>
                <a:gd name="connsiteX1" fmla="*/ 112225 w 112225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16151">
                  <a:moveTo>
                    <a:pt x="0" y="0"/>
                  </a:moveTo>
                  <a:lnTo>
                    <a:pt x="112225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33D6657A-ECA1-4694-9198-362D7E55995D}"/>
                </a:ext>
              </a:extLst>
            </p:cNvPr>
            <p:cNvSpPr/>
            <p:nvPr/>
          </p:nvSpPr>
          <p:spPr>
            <a:xfrm>
              <a:off x="1131161" y="2493218"/>
              <a:ext cx="112503" cy="13366"/>
            </a:xfrm>
            <a:custGeom>
              <a:avLst/>
              <a:gdLst>
                <a:gd name="connsiteX0" fmla="*/ 112504 w 112503"/>
                <a:gd name="connsiteY0" fmla="*/ 13367 h 13366"/>
                <a:gd name="connsiteX1" fmla="*/ 0 w 112503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13366">
                  <a:moveTo>
                    <a:pt x="11250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AA8C8CB5-7369-448B-BD1A-3FA97F8BE4EB}"/>
                </a:ext>
              </a:extLst>
            </p:cNvPr>
            <p:cNvSpPr/>
            <p:nvPr/>
          </p:nvSpPr>
          <p:spPr>
            <a:xfrm>
              <a:off x="4320523" y="1252895"/>
              <a:ext cx="96351" cy="112225"/>
            </a:xfrm>
            <a:custGeom>
              <a:avLst/>
              <a:gdLst>
                <a:gd name="connsiteX0" fmla="*/ 96352 w 96351"/>
                <a:gd name="connsiteY0" fmla="*/ 0 h 112225"/>
                <a:gd name="connsiteX1" fmla="*/ 0 w 96351"/>
                <a:gd name="connsiteY1" fmla="*/ 112225 h 11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112225">
                  <a:moveTo>
                    <a:pt x="96352" y="0"/>
                  </a:moveTo>
                  <a:lnTo>
                    <a:pt x="0" y="1122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398D8957-08E3-4F86-A1F0-502F56D471D4}"/>
                </a:ext>
              </a:extLst>
            </p:cNvPr>
            <p:cNvSpPr/>
            <p:nvPr/>
          </p:nvSpPr>
          <p:spPr>
            <a:xfrm>
              <a:off x="6603731" y="2856905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315DD4E3-6643-479D-BD4D-A92A9AA36637}"/>
                </a:ext>
              </a:extLst>
            </p:cNvPr>
            <p:cNvSpPr/>
            <p:nvPr/>
          </p:nvSpPr>
          <p:spPr>
            <a:xfrm>
              <a:off x="5234753" y="1728807"/>
              <a:ext cx="112503" cy="85491"/>
            </a:xfrm>
            <a:custGeom>
              <a:avLst/>
              <a:gdLst>
                <a:gd name="connsiteX0" fmla="*/ 112503 w 112503"/>
                <a:gd name="connsiteY0" fmla="*/ 0 h 85491"/>
                <a:gd name="connsiteX1" fmla="*/ 0 w 112503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503" h="85491">
                  <a:moveTo>
                    <a:pt x="112503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A909168E-1A3A-411A-96CB-CA5F3C264918}"/>
                </a:ext>
              </a:extLst>
            </p:cNvPr>
            <p:cNvSpPr/>
            <p:nvPr/>
          </p:nvSpPr>
          <p:spPr>
            <a:xfrm>
              <a:off x="4096073" y="600431"/>
              <a:ext cx="112225" cy="91060"/>
            </a:xfrm>
            <a:custGeom>
              <a:avLst/>
              <a:gdLst>
                <a:gd name="connsiteX0" fmla="*/ 112225 w 112225"/>
                <a:gd name="connsiteY0" fmla="*/ 0 h 91060"/>
                <a:gd name="connsiteX1" fmla="*/ 0 w 112225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91060">
                  <a:moveTo>
                    <a:pt x="112225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595692A3-1F96-420B-823F-74F023D46FBD}"/>
                </a:ext>
              </a:extLst>
            </p:cNvPr>
            <p:cNvSpPr/>
            <p:nvPr/>
          </p:nvSpPr>
          <p:spPr>
            <a:xfrm>
              <a:off x="5464772" y="4204163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1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F42200F9-BE10-46F0-87E4-4799829BBA27}"/>
                </a:ext>
              </a:extLst>
            </p:cNvPr>
            <p:cNvSpPr/>
            <p:nvPr/>
          </p:nvSpPr>
          <p:spPr>
            <a:xfrm>
              <a:off x="674185" y="606000"/>
              <a:ext cx="112225" cy="85491"/>
            </a:xfrm>
            <a:custGeom>
              <a:avLst/>
              <a:gdLst>
                <a:gd name="connsiteX0" fmla="*/ 112225 w 112225"/>
                <a:gd name="connsiteY0" fmla="*/ 0 h 85491"/>
                <a:gd name="connsiteX1" fmla="*/ 0 w 112225"/>
                <a:gd name="connsiteY1" fmla="*/ 85492 h 85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5491">
                  <a:moveTo>
                    <a:pt x="112225" y="0"/>
                  </a:moveTo>
                  <a:lnTo>
                    <a:pt x="0" y="8549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07C60EA8-DD7E-4692-9C9A-7565F82E4EA6}"/>
                </a:ext>
              </a:extLst>
            </p:cNvPr>
            <p:cNvSpPr/>
            <p:nvPr/>
          </p:nvSpPr>
          <p:spPr>
            <a:xfrm>
              <a:off x="5916457" y="4861918"/>
              <a:ext cx="104427" cy="109440"/>
            </a:xfrm>
            <a:custGeom>
              <a:avLst/>
              <a:gdLst>
                <a:gd name="connsiteX0" fmla="*/ 104428 w 104427"/>
                <a:gd name="connsiteY0" fmla="*/ 0 h 109440"/>
                <a:gd name="connsiteX1" fmla="*/ 0 w 10442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440">
                  <a:moveTo>
                    <a:pt x="10442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6350121C-9ACA-4C20-B29A-5C6F27FFD72C}"/>
                </a:ext>
              </a:extLst>
            </p:cNvPr>
            <p:cNvSpPr/>
            <p:nvPr/>
          </p:nvSpPr>
          <p:spPr>
            <a:xfrm>
              <a:off x="5002227" y="1723238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519739B7-0339-4520-88B2-CA47A0B73ABB}"/>
                </a:ext>
              </a:extLst>
            </p:cNvPr>
            <p:cNvSpPr/>
            <p:nvPr/>
          </p:nvSpPr>
          <p:spPr>
            <a:xfrm>
              <a:off x="4772486" y="1712656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C9713611-0409-4634-8288-1DDCC9368665}"/>
                </a:ext>
              </a:extLst>
            </p:cNvPr>
            <p:cNvSpPr/>
            <p:nvPr/>
          </p:nvSpPr>
          <p:spPr>
            <a:xfrm>
              <a:off x="4093288" y="4407449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154993FC-1BDC-4F08-A200-17BD988BB511}"/>
                </a:ext>
              </a:extLst>
            </p:cNvPr>
            <p:cNvSpPr/>
            <p:nvPr/>
          </p:nvSpPr>
          <p:spPr>
            <a:xfrm>
              <a:off x="3866053" y="581773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A76B585F-327D-4FEC-BD63-F586D41C8430}"/>
                </a:ext>
              </a:extLst>
            </p:cNvPr>
            <p:cNvSpPr/>
            <p:nvPr/>
          </p:nvSpPr>
          <p:spPr>
            <a:xfrm>
              <a:off x="7285435" y="2835463"/>
              <a:ext cx="98858" cy="109718"/>
            </a:xfrm>
            <a:custGeom>
              <a:avLst/>
              <a:gdLst>
                <a:gd name="connsiteX0" fmla="*/ 98858 w 98858"/>
                <a:gd name="connsiteY0" fmla="*/ 0 h 109718"/>
                <a:gd name="connsiteX1" fmla="*/ 0 w 98858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718">
                  <a:moveTo>
                    <a:pt x="9885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07087EBA-476A-4CB9-8695-127768DE8B9F}"/>
                </a:ext>
              </a:extLst>
            </p:cNvPr>
            <p:cNvSpPr/>
            <p:nvPr/>
          </p:nvSpPr>
          <p:spPr>
            <a:xfrm>
              <a:off x="8654135" y="2611013"/>
              <a:ext cx="98858" cy="109440"/>
            </a:xfrm>
            <a:custGeom>
              <a:avLst/>
              <a:gdLst>
                <a:gd name="connsiteX0" fmla="*/ 98858 w 98858"/>
                <a:gd name="connsiteY0" fmla="*/ 0 h 109440"/>
                <a:gd name="connsiteX1" fmla="*/ 0 w 98858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09440">
                  <a:moveTo>
                    <a:pt x="98858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C138F39F-8979-47F3-9201-E4F6AFD67421}"/>
                </a:ext>
              </a:extLst>
            </p:cNvPr>
            <p:cNvSpPr/>
            <p:nvPr/>
          </p:nvSpPr>
          <p:spPr>
            <a:xfrm>
              <a:off x="7287941" y="440995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0BC298AA-B16F-4AD0-A4F2-09B4D4CDC8B2}"/>
                </a:ext>
              </a:extLst>
            </p:cNvPr>
            <p:cNvSpPr/>
            <p:nvPr/>
          </p:nvSpPr>
          <p:spPr>
            <a:xfrm>
              <a:off x="2040100" y="2167125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09008A53-BF21-46DD-860A-F0B87D29EA18}"/>
                </a:ext>
              </a:extLst>
            </p:cNvPr>
            <p:cNvSpPr/>
            <p:nvPr/>
          </p:nvSpPr>
          <p:spPr>
            <a:xfrm>
              <a:off x="4772486" y="4188290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3D376371-5ADC-41E8-AD79-98BE481CA5FA}"/>
                </a:ext>
              </a:extLst>
            </p:cNvPr>
            <p:cNvSpPr/>
            <p:nvPr/>
          </p:nvSpPr>
          <p:spPr>
            <a:xfrm>
              <a:off x="4550542" y="4185505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B9FF3B7A-D1A4-4F4B-8C7E-70A7ED31A37D}"/>
                </a:ext>
              </a:extLst>
            </p:cNvPr>
            <p:cNvSpPr/>
            <p:nvPr/>
          </p:nvSpPr>
          <p:spPr>
            <a:xfrm>
              <a:off x="8429406" y="2397145"/>
              <a:ext cx="109718" cy="93567"/>
            </a:xfrm>
            <a:custGeom>
              <a:avLst/>
              <a:gdLst>
                <a:gd name="connsiteX0" fmla="*/ 109718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C92A7E5C-1B59-4D39-B6DA-E4AAB3773031}"/>
                </a:ext>
              </a:extLst>
            </p:cNvPr>
            <p:cNvSpPr/>
            <p:nvPr/>
          </p:nvSpPr>
          <p:spPr>
            <a:xfrm>
              <a:off x="2270119" y="2156543"/>
              <a:ext cx="93567" cy="109440"/>
            </a:xfrm>
            <a:custGeom>
              <a:avLst/>
              <a:gdLst>
                <a:gd name="connsiteX0" fmla="*/ 93567 w 93567"/>
                <a:gd name="connsiteY0" fmla="*/ 0 h 109440"/>
                <a:gd name="connsiteX1" fmla="*/ 0 w 93567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109440">
                  <a:moveTo>
                    <a:pt x="93567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5A392592-BB54-48F7-AD4D-EAC5E5104CCE}"/>
                </a:ext>
              </a:extLst>
            </p:cNvPr>
            <p:cNvSpPr/>
            <p:nvPr/>
          </p:nvSpPr>
          <p:spPr>
            <a:xfrm>
              <a:off x="4323308" y="2621595"/>
              <a:ext cx="109440" cy="93567"/>
            </a:xfrm>
            <a:custGeom>
              <a:avLst/>
              <a:gdLst>
                <a:gd name="connsiteX0" fmla="*/ 109440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0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CBCD01AB-1C65-4278-B9B3-9892562762DA}"/>
                </a:ext>
              </a:extLst>
            </p:cNvPr>
            <p:cNvSpPr/>
            <p:nvPr/>
          </p:nvSpPr>
          <p:spPr>
            <a:xfrm>
              <a:off x="6146477" y="5311097"/>
              <a:ext cx="104149" cy="109440"/>
            </a:xfrm>
            <a:custGeom>
              <a:avLst/>
              <a:gdLst>
                <a:gd name="connsiteX0" fmla="*/ 104150 w 104149"/>
                <a:gd name="connsiteY0" fmla="*/ 0 h 109440"/>
                <a:gd name="connsiteX1" fmla="*/ 0 w 104149"/>
                <a:gd name="connsiteY1" fmla="*/ 109440 h 10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9440">
                  <a:moveTo>
                    <a:pt x="104150" y="0"/>
                  </a:moveTo>
                  <a:lnTo>
                    <a:pt x="0" y="1094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3A2CCF9E-E1A9-449F-922F-52E0339429F3}"/>
                </a:ext>
              </a:extLst>
            </p:cNvPr>
            <p:cNvSpPr/>
            <p:nvPr/>
          </p:nvSpPr>
          <p:spPr>
            <a:xfrm>
              <a:off x="7745196" y="2397145"/>
              <a:ext cx="109440" cy="93567"/>
            </a:xfrm>
            <a:custGeom>
              <a:avLst/>
              <a:gdLst>
                <a:gd name="connsiteX0" fmla="*/ 109441 w 109440"/>
                <a:gd name="connsiteY0" fmla="*/ 0 h 93567"/>
                <a:gd name="connsiteX1" fmla="*/ 0 w 109440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3567">
                  <a:moveTo>
                    <a:pt x="109441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4C6D5C98-5E31-40B6-8997-114C61CBDFA7}"/>
                </a:ext>
              </a:extLst>
            </p:cNvPr>
            <p:cNvSpPr/>
            <p:nvPr/>
          </p:nvSpPr>
          <p:spPr>
            <a:xfrm>
              <a:off x="4772486" y="1937106"/>
              <a:ext cx="104149" cy="104427"/>
            </a:xfrm>
            <a:custGeom>
              <a:avLst/>
              <a:gdLst>
                <a:gd name="connsiteX0" fmla="*/ 104149 w 104149"/>
                <a:gd name="connsiteY0" fmla="*/ 0 h 104427"/>
                <a:gd name="connsiteX1" fmla="*/ 0 w 104149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427">
                  <a:moveTo>
                    <a:pt x="104149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FD44A6C-F250-4909-A62C-D903B494607C}"/>
                </a:ext>
              </a:extLst>
            </p:cNvPr>
            <p:cNvSpPr/>
            <p:nvPr/>
          </p:nvSpPr>
          <p:spPr>
            <a:xfrm>
              <a:off x="3638819" y="2621595"/>
              <a:ext cx="109718" cy="93567"/>
            </a:xfrm>
            <a:custGeom>
              <a:avLst/>
              <a:gdLst>
                <a:gd name="connsiteX0" fmla="*/ 109719 w 109718"/>
                <a:gd name="connsiteY0" fmla="*/ 0 h 93567"/>
                <a:gd name="connsiteX1" fmla="*/ 0 w 109718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3567">
                  <a:moveTo>
                    <a:pt x="10971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71CE63A6-D0E0-4C04-91D2-B0387E649FFA}"/>
                </a:ext>
              </a:extLst>
            </p:cNvPr>
            <p:cNvSpPr/>
            <p:nvPr/>
          </p:nvSpPr>
          <p:spPr>
            <a:xfrm>
              <a:off x="4550542" y="1260971"/>
              <a:ext cx="109440" cy="104149"/>
            </a:xfrm>
            <a:custGeom>
              <a:avLst/>
              <a:gdLst>
                <a:gd name="connsiteX0" fmla="*/ 109440 w 109440"/>
                <a:gd name="connsiteY0" fmla="*/ 0 h 104149"/>
                <a:gd name="connsiteX1" fmla="*/ 0 w 109440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104149">
                  <a:moveTo>
                    <a:pt x="109440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BB06F6C8-4E2D-484D-B36D-00F098CBC5D4}"/>
                </a:ext>
              </a:extLst>
            </p:cNvPr>
            <p:cNvSpPr/>
            <p:nvPr/>
          </p:nvSpPr>
          <p:spPr>
            <a:xfrm>
              <a:off x="4093288" y="809008"/>
              <a:ext cx="104427" cy="109718"/>
            </a:xfrm>
            <a:custGeom>
              <a:avLst/>
              <a:gdLst>
                <a:gd name="connsiteX0" fmla="*/ 104428 w 104427"/>
                <a:gd name="connsiteY0" fmla="*/ 0 h 109718"/>
                <a:gd name="connsiteX1" fmla="*/ 0 w 104427"/>
                <a:gd name="connsiteY1" fmla="*/ 109719 h 10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9718">
                  <a:moveTo>
                    <a:pt x="104428" y="0"/>
                  </a:moveTo>
                  <a:lnTo>
                    <a:pt x="0" y="10971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93062F80-893D-4179-9077-21F9AFB293E4}"/>
                </a:ext>
              </a:extLst>
            </p:cNvPr>
            <p:cNvSpPr/>
            <p:nvPr/>
          </p:nvSpPr>
          <p:spPr>
            <a:xfrm>
              <a:off x="5924533" y="915942"/>
              <a:ext cx="109718" cy="13366"/>
            </a:xfrm>
            <a:custGeom>
              <a:avLst/>
              <a:gdLst>
                <a:gd name="connsiteX0" fmla="*/ 0 w 109718"/>
                <a:gd name="connsiteY0" fmla="*/ 0 h 13366"/>
                <a:gd name="connsiteX1" fmla="*/ 109718 w 109718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13366">
                  <a:moveTo>
                    <a:pt x="0" y="0"/>
                  </a:moveTo>
                  <a:lnTo>
                    <a:pt x="10971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8292E531-9C63-4658-8521-B85FF8EBA41C}"/>
                </a:ext>
              </a:extLst>
            </p:cNvPr>
            <p:cNvSpPr/>
            <p:nvPr/>
          </p:nvSpPr>
          <p:spPr>
            <a:xfrm>
              <a:off x="5002227" y="1942675"/>
              <a:ext cx="109718" cy="98858"/>
            </a:xfrm>
            <a:custGeom>
              <a:avLst/>
              <a:gdLst>
                <a:gd name="connsiteX0" fmla="*/ 109719 w 109718"/>
                <a:gd name="connsiteY0" fmla="*/ 0 h 98858"/>
                <a:gd name="connsiteX1" fmla="*/ 0 w 109718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718" h="98858">
                  <a:moveTo>
                    <a:pt x="10971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A658A4CF-5C0D-406B-AA7B-0C3AD4BC5944}"/>
                </a:ext>
              </a:extLst>
            </p:cNvPr>
            <p:cNvSpPr/>
            <p:nvPr/>
          </p:nvSpPr>
          <p:spPr>
            <a:xfrm>
              <a:off x="6146477" y="5097229"/>
              <a:ext cx="104149" cy="98858"/>
            </a:xfrm>
            <a:custGeom>
              <a:avLst/>
              <a:gdLst>
                <a:gd name="connsiteX0" fmla="*/ 104150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5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76F2464A-5403-40CE-BDC6-01ACF621D0F5}"/>
                </a:ext>
              </a:extLst>
            </p:cNvPr>
            <p:cNvSpPr/>
            <p:nvPr/>
          </p:nvSpPr>
          <p:spPr>
            <a:xfrm>
              <a:off x="4318017" y="4193581"/>
              <a:ext cx="109440" cy="98858"/>
            </a:xfrm>
            <a:custGeom>
              <a:avLst/>
              <a:gdLst>
                <a:gd name="connsiteX0" fmla="*/ 109440 w 109440"/>
                <a:gd name="connsiteY0" fmla="*/ 0 h 98858"/>
                <a:gd name="connsiteX1" fmla="*/ 0 w 109440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440" h="98858">
                  <a:moveTo>
                    <a:pt x="109440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BBD7295-C8F4-4F9C-944B-998007A1F619}"/>
                </a:ext>
              </a:extLst>
            </p:cNvPr>
            <p:cNvSpPr/>
            <p:nvPr/>
          </p:nvSpPr>
          <p:spPr>
            <a:xfrm>
              <a:off x="7515176" y="2608228"/>
              <a:ext cx="106934" cy="106934"/>
            </a:xfrm>
            <a:custGeom>
              <a:avLst/>
              <a:gdLst>
                <a:gd name="connsiteX0" fmla="*/ 106934 w 106934"/>
                <a:gd name="connsiteY0" fmla="*/ 0 h 106934"/>
                <a:gd name="connsiteX1" fmla="*/ 0 w 10693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6934">
                  <a:moveTo>
                    <a:pt x="106934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190A511-93D5-4746-83D8-C233ED2A573C}"/>
                </a:ext>
              </a:extLst>
            </p:cNvPr>
            <p:cNvSpPr/>
            <p:nvPr/>
          </p:nvSpPr>
          <p:spPr>
            <a:xfrm>
              <a:off x="10028125" y="2942397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89869BA9-0522-4DA4-B22A-55C0F425338A}"/>
                </a:ext>
              </a:extLst>
            </p:cNvPr>
            <p:cNvSpPr/>
            <p:nvPr/>
          </p:nvSpPr>
          <p:spPr>
            <a:xfrm>
              <a:off x="6830966" y="136790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8DFD8DB1-79A6-43CF-A83E-BD94721380BB}"/>
                </a:ext>
              </a:extLst>
            </p:cNvPr>
            <p:cNvSpPr/>
            <p:nvPr/>
          </p:nvSpPr>
          <p:spPr>
            <a:xfrm>
              <a:off x="7058200" y="3958270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FEB36B91-E478-4EE9-BEBA-DFD7443EAAED}"/>
                </a:ext>
              </a:extLst>
            </p:cNvPr>
            <p:cNvSpPr/>
            <p:nvPr/>
          </p:nvSpPr>
          <p:spPr>
            <a:xfrm>
              <a:off x="6833472" y="3754984"/>
              <a:ext cx="106934" cy="85769"/>
            </a:xfrm>
            <a:custGeom>
              <a:avLst/>
              <a:gdLst>
                <a:gd name="connsiteX0" fmla="*/ 106934 w 106934"/>
                <a:gd name="connsiteY0" fmla="*/ 0 h 85769"/>
                <a:gd name="connsiteX1" fmla="*/ 0 w 106934"/>
                <a:gd name="connsiteY1" fmla="*/ 85770 h 85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85769">
                  <a:moveTo>
                    <a:pt x="106934" y="0"/>
                  </a:moveTo>
                  <a:lnTo>
                    <a:pt x="0" y="857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5B6E5110-FA5A-491B-8300-B979CC2D7495}"/>
                </a:ext>
              </a:extLst>
            </p:cNvPr>
            <p:cNvSpPr/>
            <p:nvPr/>
          </p:nvSpPr>
          <p:spPr>
            <a:xfrm>
              <a:off x="7290726" y="1595140"/>
              <a:ext cx="106934" cy="13366"/>
            </a:xfrm>
            <a:custGeom>
              <a:avLst/>
              <a:gdLst>
                <a:gd name="connsiteX0" fmla="*/ 106934 w 106934"/>
                <a:gd name="connsiteY0" fmla="*/ 13367 h 13366"/>
                <a:gd name="connsiteX1" fmla="*/ 0 w 106934"/>
                <a:gd name="connsiteY1" fmla="*/ 0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3366">
                  <a:moveTo>
                    <a:pt x="106934" y="1336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9C31B9F8-B8B5-4CF5-914C-E564B961DAB2}"/>
                </a:ext>
              </a:extLst>
            </p:cNvPr>
            <p:cNvSpPr/>
            <p:nvPr/>
          </p:nvSpPr>
          <p:spPr>
            <a:xfrm>
              <a:off x="1128654" y="1488206"/>
              <a:ext cx="106933" cy="101364"/>
            </a:xfrm>
            <a:custGeom>
              <a:avLst/>
              <a:gdLst>
                <a:gd name="connsiteX0" fmla="*/ 106934 w 106933"/>
                <a:gd name="connsiteY0" fmla="*/ 0 h 101364"/>
                <a:gd name="connsiteX1" fmla="*/ 0 w 106933"/>
                <a:gd name="connsiteY1" fmla="*/ 101364 h 101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1364">
                  <a:moveTo>
                    <a:pt x="106934" y="0"/>
                  </a:moveTo>
                  <a:lnTo>
                    <a:pt x="0" y="1013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E90E0A82-2302-47E5-BA76-52D520A72398}"/>
                </a:ext>
              </a:extLst>
            </p:cNvPr>
            <p:cNvSpPr/>
            <p:nvPr/>
          </p:nvSpPr>
          <p:spPr>
            <a:xfrm>
              <a:off x="7974937" y="1595140"/>
              <a:ext cx="106933" cy="10582"/>
            </a:xfrm>
            <a:custGeom>
              <a:avLst/>
              <a:gdLst>
                <a:gd name="connsiteX0" fmla="*/ 106934 w 106933"/>
                <a:gd name="connsiteY0" fmla="*/ 10582 h 10582"/>
                <a:gd name="connsiteX1" fmla="*/ 0 w 106933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7F8F44E2-0DCC-463D-85CF-49476622E7D2}"/>
                </a:ext>
              </a:extLst>
            </p:cNvPr>
            <p:cNvSpPr/>
            <p:nvPr/>
          </p:nvSpPr>
          <p:spPr>
            <a:xfrm>
              <a:off x="9111110" y="3059913"/>
              <a:ext cx="101642" cy="106934"/>
            </a:xfrm>
            <a:custGeom>
              <a:avLst/>
              <a:gdLst>
                <a:gd name="connsiteX0" fmla="*/ 101643 w 101642"/>
                <a:gd name="connsiteY0" fmla="*/ 0 h 106934"/>
                <a:gd name="connsiteX1" fmla="*/ 0 w 101642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6934">
                  <a:moveTo>
                    <a:pt x="101643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4DF64F27-37B5-4961-A0DF-890CBEBA3158}"/>
                </a:ext>
              </a:extLst>
            </p:cNvPr>
            <p:cNvSpPr/>
            <p:nvPr/>
          </p:nvSpPr>
          <p:spPr>
            <a:xfrm>
              <a:off x="10252854" y="361881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6DBF02A2-045C-4EC4-8408-839AD5DCE7D3}"/>
                </a:ext>
              </a:extLst>
            </p:cNvPr>
            <p:cNvSpPr/>
            <p:nvPr/>
          </p:nvSpPr>
          <p:spPr>
            <a:xfrm>
              <a:off x="4096073" y="4198872"/>
              <a:ext cx="106933" cy="90782"/>
            </a:xfrm>
            <a:custGeom>
              <a:avLst/>
              <a:gdLst>
                <a:gd name="connsiteX0" fmla="*/ 106934 w 106933"/>
                <a:gd name="connsiteY0" fmla="*/ 0 h 90782"/>
                <a:gd name="connsiteX1" fmla="*/ 0 w 106933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172D84A2-E330-4EB9-BCC4-600A09052E55}"/>
                </a:ext>
              </a:extLst>
            </p:cNvPr>
            <p:cNvSpPr/>
            <p:nvPr/>
          </p:nvSpPr>
          <p:spPr>
            <a:xfrm>
              <a:off x="2954608" y="3618810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A8E98418-9149-42B3-BCB8-C87468C789F5}"/>
                </a:ext>
              </a:extLst>
            </p:cNvPr>
            <p:cNvSpPr/>
            <p:nvPr/>
          </p:nvSpPr>
          <p:spPr>
            <a:xfrm>
              <a:off x="5234753" y="4198872"/>
              <a:ext cx="106934" cy="90782"/>
            </a:xfrm>
            <a:custGeom>
              <a:avLst/>
              <a:gdLst>
                <a:gd name="connsiteX0" fmla="*/ 106934 w 106934"/>
                <a:gd name="connsiteY0" fmla="*/ 0 h 90782"/>
                <a:gd name="connsiteX1" fmla="*/ 0 w 106934"/>
                <a:gd name="connsiteY1" fmla="*/ 90782 h 9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0782">
                  <a:moveTo>
                    <a:pt x="106934" y="0"/>
                  </a:moveTo>
                  <a:lnTo>
                    <a:pt x="0" y="907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82F8FB49-EA91-4092-9BC2-BC4D79E4F19D}"/>
                </a:ext>
              </a:extLst>
            </p:cNvPr>
            <p:cNvSpPr/>
            <p:nvPr/>
          </p:nvSpPr>
          <p:spPr>
            <a:xfrm>
              <a:off x="7058200" y="3059913"/>
              <a:ext cx="101364" cy="106934"/>
            </a:xfrm>
            <a:custGeom>
              <a:avLst/>
              <a:gdLst>
                <a:gd name="connsiteX0" fmla="*/ 101365 w 101364"/>
                <a:gd name="connsiteY0" fmla="*/ 0 h 106934"/>
                <a:gd name="connsiteX1" fmla="*/ 0 w 101364"/>
                <a:gd name="connsiteY1" fmla="*/ 106934 h 10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106934">
                  <a:moveTo>
                    <a:pt x="101365" y="0"/>
                  </a:moveTo>
                  <a:lnTo>
                    <a:pt x="0" y="1069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A713D247-CB91-484A-88BC-36B52A54D817}"/>
                </a:ext>
              </a:extLst>
            </p:cNvPr>
            <p:cNvSpPr/>
            <p:nvPr/>
          </p:nvSpPr>
          <p:spPr>
            <a:xfrm>
              <a:off x="9113895" y="1819590"/>
              <a:ext cx="106933" cy="16151"/>
            </a:xfrm>
            <a:custGeom>
              <a:avLst/>
              <a:gdLst>
                <a:gd name="connsiteX0" fmla="*/ 106934 w 106933"/>
                <a:gd name="connsiteY0" fmla="*/ 16151 h 16151"/>
                <a:gd name="connsiteX1" fmla="*/ 0 w 106933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106934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039A082E-CC23-4FA3-A4A2-C65708F0001B}"/>
                </a:ext>
              </a:extLst>
            </p:cNvPr>
            <p:cNvSpPr/>
            <p:nvPr/>
          </p:nvSpPr>
          <p:spPr>
            <a:xfrm>
              <a:off x="3181843" y="5540838"/>
              <a:ext cx="106934" cy="101643"/>
            </a:xfrm>
            <a:custGeom>
              <a:avLst/>
              <a:gdLst>
                <a:gd name="connsiteX0" fmla="*/ 106934 w 106934"/>
                <a:gd name="connsiteY0" fmla="*/ 0 h 101643"/>
                <a:gd name="connsiteX1" fmla="*/ 0 w 106934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1643">
                  <a:moveTo>
                    <a:pt x="106934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54F930A7-1751-41FB-BE34-EA855FB39FFE}"/>
                </a:ext>
              </a:extLst>
            </p:cNvPr>
            <p:cNvSpPr/>
            <p:nvPr/>
          </p:nvSpPr>
          <p:spPr>
            <a:xfrm>
              <a:off x="6376496" y="1143177"/>
              <a:ext cx="106933" cy="16151"/>
            </a:xfrm>
            <a:custGeom>
              <a:avLst/>
              <a:gdLst>
                <a:gd name="connsiteX0" fmla="*/ 0 w 106933"/>
                <a:gd name="connsiteY0" fmla="*/ 0 h 16151"/>
                <a:gd name="connsiteX1" fmla="*/ 106934 w 106933"/>
                <a:gd name="connsiteY1" fmla="*/ 16152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6151">
                  <a:moveTo>
                    <a:pt x="0" y="0"/>
                  </a:moveTo>
                  <a:lnTo>
                    <a:pt x="106934" y="161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33851539-BB92-4EC3-90B0-534F2A2D2392}"/>
                </a:ext>
              </a:extLst>
            </p:cNvPr>
            <p:cNvSpPr/>
            <p:nvPr/>
          </p:nvSpPr>
          <p:spPr>
            <a:xfrm>
              <a:off x="4547758" y="2391575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0116F5C2-AED2-4962-8B50-68CBAE9EA203}"/>
                </a:ext>
              </a:extLst>
            </p:cNvPr>
            <p:cNvSpPr/>
            <p:nvPr/>
          </p:nvSpPr>
          <p:spPr>
            <a:xfrm>
              <a:off x="10028125" y="4519674"/>
              <a:ext cx="106934" cy="10582"/>
            </a:xfrm>
            <a:custGeom>
              <a:avLst/>
              <a:gdLst>
                <a:gd name="connsiteX0" fmla="*/ 106934 w 106934"/>
                <a:gd name="connsiteY0" fmla="*/ 10582 h 10582"/>
                <a:gd name="connsiteX1" fmla="*/ 0 w 106934"/>
                <a:gd name="connsiteY1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0582">
                  <a:moveTo>
                    <a:pt x="106934" y="1058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7F2E97A7-6E76-476E-B9AA-28E46B3BA84D}"/>
                </a:ext>
              </a:extLst>
            </p:cNvPr>
            <p:cNvSpPr/>
            <p:nvPr/>
          </p:nvSpPr>
          <p:spPr>
            <a:xfrm>
              <a:off x="2500139" y="4070495"/>
              <a:ext cx="106934" cy="18657"/>
            </a:xfrm>
            <a:custGeom>
              <a:avLst/>
              <a:gdLst>
                <a:gd name="connsiteX0" fmla="*/ 106934 w 106934"/>
                <a:gd name="connsiteY0" fmla="*/ 18658 h 18657"/>
                <a:gd name="connsiteX1" fmla="*/ 0 w 106934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FE540919-84FD-412F-BF7B-289B4A7B1548}"/>
                </a:ext>
              </a:extLst>
            </p:cNvPr>
            <p:cNvSpPr/>
            <p:nvPr/>
          </p:nvSpPr>
          <p:spPr>
            <a:xfrm>
              <a:off x="7515176" y="1592355"/>
              <a:ext cx="106934" cy="18657"/>
            </a:xfrm>
            <a:custGeom>
              <a:avLst/>
              <a:gdLst>
                <a:gd name="connsiteX0" fmla="*/ 0 w 106934"/>
                <a:gd name="connsiteY0" fmla="*/ 0 h 18657"/>
                <a:gd name="connsiteX1" fmla="*/ 106934 w 106934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DDDA3570-3B05-4288-B030-20E141084ED5}"/>
                </a:ext>
              </a:extLst>
            </p:cNvPr>
            <p:cNvSpPr/>
            <p:nvPr/>
          </p:nvSpPr>
          <p:spPr>
            <a:xfrm>
              <a:off x="4550542" y="2626886"/>
              <a:ext cx="106934" cy="91060"/>
            </a:xfrm>
            <a:custGeom>
              <a:avLst/>
              <a:gdLst>
                <a:gd name="connsiteX0" fmla="*/ 106934 w 106934"/>
                <a:gd name="connsiteY0" fmla="*/ 0 h 91060"/>
                <a:gd name="connsiteX1" fmla="*/ 0 w 106934"/>
                <a:gd name="connsiteY1" fmla="*/ 91061 h 9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91060">
                  <a:moveTo>
                    <a:pt x="106934" y="0"/>
                  </a:moveTo>
                  <a:lnTo>
                    <a:pt x="0" y="910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0FDFA028-5F70-4A05-BDA0-B803670D962D}"/>
                </a:ext>
              </a:extLst>
            </p:cNvPr>
            <p:cNvSpPr/>
            <p:nvPr/>
          </p:nvSpPr>
          <p:spPr>
            <a:xfrm>
              <a:off x="10252854" y="3843260"/>
              <a:ext cx="106933" cy="18657"/>
            </a:xfrm>
            <a:custGeom>
              <a:avLst/>
              <a:gdLst>
                <a:gd name="connsiteX0" fmla="*/ 0 w 106933"/>
                <a:gd name="connsiteY0" fmla="*/ 0 h 18657"/>
                <a:gd name="connsiteX1" fmla="*/ 106934 w 106933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0" y="0"/>
                  </a:moveTo>
                  <a:lnTo>
                    <a:pt x="106934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E1EBA197-249F-4098-9FCE-1642D8C24E75}"/>
                </a:ext>
              </a:extLst>
            </p:cNvPr>
            <p:cNvSpPr/>
            <p:nvPr/>
          </p:nvSpPr>
          <p:spPr>
            <a:xfrm>
              <a:off x="2045669" y="4968852"/>
              <a:ext cx="106933" cy="18657"/>
            </a:xfrm>
            <a:custGeom>
              <a:avLst/>
              <a:gdLst>
                <a:gd name="connsiteX0" fmla="*/ 106934 w 106933"/>
                <a:gd name="connsiteY0" fmla="*/ 18658 h 18657"/>
                <a:gd name="connsiteX1" fmla="*/ 0 w 106933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18657">
                  <a:moveTo>
                    <a:pt x="106934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B0549858-6DFE-4F90-9882-6C39A625F045}"/>
                </a:ext>
              </a:extLst>
            </p:cNvPr>
            <p:cNvSpPr/>
            <p:nvPr/>
          </p:nvSpPr>
          <p:spPr>
            <a:xfrm>
              <a:off x="10252854" y="3394082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D53799CB-B32D-4533-878C-1C8C4188FE39}"/>
                </a:ext>
              </a:extLst>
            </p:cNvPr>
            <p:cNvSpPr/>
            <p:nvPr/>
          </p:nvSpPr>
          <p:spPr>
            <a:xfrm>
              <a:off x="9798384" y="4968852"/>
              <a:ext cx="106934" cy="15873"/>
            </a:xfrm>
            <a:custGeom>
              <a:avLst/>
              <a:gdLst>
                <a:gd name="connsiteX0" fmla="*/ 106934 w 106934"/>
                <a:gd name="connsiteY0" fmla="*/ 15873 h 15873"/>
                <a:gd name="connsiteX1" fmla="*/ 0 w 106934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4" h="15873">
                  <a:moveTo>
                    <a:pt x="106934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A83E91F6-F33E-4D53-B7B1-59B23CFDD231}"/>
                </a:ext>
              </a:extLst>
            </p:cNvPr>
            <p:cNvSpPr/>
            <p:nvPr/>
          </p:nvSpPr>
          <p:spPr>
            <a:xfrm>
              <a:off x="9108604" y="4193581"/>
              <a:ext cx="104149" cy="98858"/>
            </a:xfrm>
            <a:custGeom>
              <a:avLst/>
              <a:gdLst>
                <a:gd name="connsiteX0" fmla="*/ 104149 w 104149"/>
                <a:gd name="connsiteY0" fmla="*/ 0 h 98858"/>
                <a:gd name="connsiteX1" fmla="*/ 0 w 104149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8858">
                  <a:moveTo>
                    <a:pt x="104149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ABE952E0-1F21-4CB9-848D-65072B5DA5CD}"/>
                </a:ext>
              </a:extLst>
            </p:cNvPr>
            <p:cNvSpPr/>
            <p:nvPr/>
          </p:nvSpPr>
          <p:spPr>
            <a:xfrm>
              <a:off x="2732664" y="3394082"/>
              <a:ext cx="104149" cy="13366"/>
            </a:xfrm>
            <a:custGeom>
              <a:avLst/>
              <a:gdLst>
                <a:gd name="connsiteX0" fmla="*/ 0 w 104149"/>
                <a:gd name="connsiteY0" fmla="*/ 0 h 13366"/>
                <a:gd name="connsiteX1" fmla="*/ 104149 w 104149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3366">
                  <a:moveTo>
                    <a:pt x="0" y="0"/>
                  </a:moveTo>
                  <a:lnTo>
                    <a:pt x="104149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7F97AE09-ADDA-4373-8E04-C8B68B3AEF55}"/>
                </a:ext>
              </a:extLst>
            </p:cNvPr>
            <p:cNvSpPr/>
            <p:nvPr/>
          </p:nvSpPr>
          <p:spPr>
            <a:xfrm>
              <a:off x="8891951" y="5645265"/>
              <a:ext cx="104427" cy="13366"/>
            </a:xfrm>
            <a:custGeom>
              <a:avLst/>
              <a:gdLst>
                <a:gd name="connsiteX0" fmla="*/ 0 w 104427"/>
                <a:gd name="connsiteY0" fmla="*/ 0 h 13366"/>
                <a:gd name="connsiteX1" fmla="*/ 104428 w 104427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3366">
                  <a:moveTo>
                    <a:pt x="0" y="0"/>
                  </a:moveTo>
                  <a:lnTo>
                    <a:pt x="104428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F836FE36-5EBC-4592-9994-2DE43EEC8763}"/>
                </a:ext>
              </a:extLst>
            </p:cNvPr>
            <p:cNvSpPr/>
            <p:nvPr/>
          </p:nvSpPr>
          <p:spPr>
            <a:xfrm>
              <a:off x="9346421" y="5418031"/>
              <a:ext cx="104427" cy="18657"/>
            </a:xfrm>
            <a:custGeom>
              <a:avLst/>
              <a:gdLst>
                <a:gd name="connsiteX0" fmla="*/ 0 w 104427"/>
                <a:gd name="connsiteY0" fmla="*/ 0 h 18657"/>
                <a:gd name="connsiteX1" fmla="*/ 104428 w 104427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8657">
                  <a:moveTo>
                    <a:pt x="0" y="0"/>
                  </a:moveTo>
                  <a:lnTo>
                    <a:pt x="104428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006B4D79-445F-4FBE-8D6D-7AD7A82B0FA6}"/>
                </a:ext>
              </a:extLst>
            </p:cNvPr>
            <p:cNvSpPr/>
            <p:nvPr/>
          </p:nvSpPr>
          <p:spPr>
            <a:xfrm>
              <a:off x="3192425" y="3621316"/>
              <a:ext cx="104149" cy="5569"/>
            </a:xfrm>
            <a:custGeom>
              <a:avLst/>
              <a:gdLst>
                <a:gd name="connsiteX0" fmla="*/ 0 w 104149"/>
                <a:gd name="connsiteY0" fmla="*/ 0 h 5569"/>
                <a:gd name="connsiteX1" fmla="*/ 104149 w 104149"/>
                <a:gd name="connsiteY1" fmla="*/ 5569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5569">
                  <a:moveTo>
                    <a:pt x="0" y="0"/>
                  </a:moveTo>
                  <a:lnTo>
                    <a:pt x="104149" y="556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60E45EAA-1091-4B6A-9A6F-D5A31B2A151B}"/>
                </a:ext>
              </a:extLst>
            </p:cNvPr>
            <p:cNvSpPr/>
            <p:nvPr/>
          </p:nvSpPr>
          <p:spPr>
            <a:xfrm>
              <a:off x="3638819" y="365399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34843272-3436-4795-8FBD-D59990C8FE5E}"/>
                </a:ext>
              </a:extLst>
            </p:cNvPr>
            <p:cNvSpPr/>
            <p:nvPr/>
          </p:nvSpPr>
          <p:spPr>
            <a:xfrm>
              <a:off x="2045669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ED084B89-3881-42BE-AD5F-F2E0F883AE74}"/>
                </a:ext>
              </a:extLst>
            </p:cNvPr>
            <p:cNvSpPr/>
            <p:nvPr/>
          </p:nvSpPr>
          <p:spPr>
            <a:xfrm>
              <a:off x="4777777" y="2161834"/>
              <a:ext cx="104149" cy="104149"/>
            </a:xfrm>
            <a:custGeom>
              <a:avLst/>
              <a:gdLst>
                <a:gd name="connsiteX0" fmla="*/ 104149 w 104149"/>
                <a:gd name="connsiteY0" fmla="*/ 0 h 104149"/>
                <a:gd name="connsiteX1" fmla="*/ 0 w 104149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4149">
                  <a:moveTo>
                    <a:pt x="104149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335D0946-9547-46A3-BD9F-2DE0EAF62FB7}"/>
                </a:ext>
              </a:extLst>
            </p:cNvPr>
            <p:cNvSpPr/>
            <p:nvPr/>
          </p:nvSpPr>
          <p:spPr>
            <a:xfrm>
              <a:off x="5461988" y="4412740"/>
              <a:ext cx="104427" cy="104149"/>
            </a:xfrm>
            <a:custGeom>
              <a:avLst/>
              <a:gdLst>
                <a:gd name="connsiteX0" fmla="*/ 104428 w 104427"/>
                <a:gd name="connsiteY0" fmla="*/ 0 h 104149"/>
                <a:gd name="connsiteX1" fmla="*/ 0 w 104427"/>
                <a:gd name="connsiteY1" fmla="*/ 104149 h 10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149">
                  <a:moveTo>
                    <a:pt x="104428" y="0"/>
                  </a:moveTo>
                  <a:lnTo>
                    <a:pt x="0" y="1041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CE358ADC-25DB-4B9E-8116-90EA29228801}"/>
                </a:ext>
              </a:extLst>
            </p:cNvPr>
            <p:cNvSpPr/>
            <p:nvPr/>
          </p:nvSpPr>
          <p:spPr>
            <a:xfrm>
              <a:off x="9568365" y="5193302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DFCBAAC7-6421-4392-ABBA-35F1038E9A57}"/>
                </a:ext>
              </a:extLst>
            </p:cNvPr>
            <p:cNvSpPr/>
            <p:nvPr/>
          </p:nvSpPr>
          <p:spPr>
            <a:xfrm>
              <a:off x="7515176" y="4648050"/>
              <a:ext cx="104427" cy="93567"/>
            </a:xfrm>
            <a:custGeom>
              <a:avLst/>
              <a:gdLst>
                <a:gd name="connsiteX0" fmla="*/ 104428 w 104427"/>
                <a:gd name="connsiteY0" fmla="*/ 0 h 93567"/>
                <a:gd name="connsiteX1" fmla="*/ 0 w 104427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3567">
                  <a:moveTo>
                    <a:pt x="104428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57B75085-2E47-4DF8-A190-8008CFEC3B27}"/>
                </a:ext>
              </a:extLst>
            </p:cNvPr>
            <p:cNvSpPr/>
            <p:nvPr/>
          </p:nvSpPr>
          <p:spPr>
            <a:xfrm>
              <a:off x="2270119" y="4519674"/>
              <a:ext cx="104149" cy="16151"/>
            </a:xfrm>
            <a:custGeom>
              <a:avLst/>
              <a:gdLst>
                <a:gd name="connsiteX0" fmla="*/ 104149 w 104149"/>
                <a:gd name="connsiteY0" fmla="*/ 16151 h 16151"/>
                <a:gd name="connsiteX1" fmla="*/ 0 w 104149"/>
                <a:gd name="connsiteY1" fmla="*/ 0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6151">
                  <a:moveTo>
                    <a:pt x="104149" y="1615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2A507CD8-1476-43D8-BC18-B84F1272C5C1}"/>
                </a:ext>
              </a:extLst>
            </p:cNvPr>
            <p:cNvSpPr/>
            <p:nvPr/>
          </p:nvSpPr>
          <p:spPr>
            <a:xfrm>
              <a:off x="8199665" y="2397145"/>
              <a:ext cx="104149" cy="93567"/>
            </a:xfrm>
            <a:custGeom>
              <a:avLst/>
              <a:gdLst>
                <a:gd name="connsiteX0" fmla="*/ 104149 w 104149"/>
                <a:gd name="connsiteY0" fmla="*/ 0 h 93567"/>
                <a:gd name="connsiteX1" fmla="*/ 0 w 104149"/>
                <a:gd name="connsiteY1" fmla="*/ 93567 h 9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93567">
                  <a:moveTo>
                    <a:pt x="104149" y="0"/>
                  </a:moveTo>
                  <a:lnTo>
                    <a:pt x="0" y="935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C0E38A74-1249-4E7C-98B2-1C3214913763}"/>
                </a:ext>
              </a:extLst>
            </p:cNvPr>
            <p:cNvSpPr/>
            <p:nvPr/>
          </p:nvSpPr>
          <p:spPr>
            <a:xfrm>
              <a:off x="5007518" y="2167125"/>
              <a:ext cx="104427" cy="98858"/>
            </a:xfrm>
            <a:custGeom>
              <a:avLst/>
              <a:gdLst>
                <a:gd name="connsiteX0" fmla="*/ 104428 w 104427"/>
                <a:gd name="connsiteY0" fmla="*/ 0 h 98858"/>
                <a:gd name="connsiteX1" fmla="*/ 0 w 104427"/>
                <a:gd name="connsiteY1" fmla="*/ 98858 h 9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98858">
                  <a:moveTo>
                    <a:pt x="104428" y="0"/>
                  </a:moveTo>
                  <a:lnTo>
                    <a:pt x="0" y="988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CBE2B935-9596-4577-8626-FC7B5CFEDA5A}"/>
                </a:ext>
              </a:extLst>
            </p:cNvPr>
            <p:cNvSpPr/>
            <p:nvPr/>
          </p:nvSpPr>
          <p:spPr>
            <a:xfrm>
              <a:off x="9343915" y="2044040"/>
              <a:ext cx="104149" cy="10860"/>
            </a:xfrm>
            <a:custGeom>
              <a:avLst/>
              <a:gdLst>
                <a:gd name="connsiteX0" fmla="*/ 104149 w 104149"/>
                <a:gd name="connsiteY0" fmla="*/ 10861 h 10860"/>
                <a:gd name="connsiteX1" fmla="*/ 0 w 104149"/>
                <a:gd name="connsiteY1" fmla="*/ 0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0860">
                  <a:moveTo>
                    <a:pt x="104149" y="10861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10CD58DA-DA0A-4828-9DF1-8DD735C6AD11}"/>
                </a:ext>
              </a:extLst>
            </p:cNvPr>
            <p:cNvSpPr/>
            <p:nvPr/>
          </p:nvSpPr>
          <p:spPr>
            <a:xfrm>
              <a:off x="8429406" y="1595140"/>
              <a:ext cx="104427" cy="15873"/>
            </a:xfrm>
            <a:custGeom>
              <a:avLst/>
              <a:gdLst>
                <a:gd name="connsiteX0" fmla="*/ 104428 w 104427"/>
                <a:gd name="connsiteY0" fmla="*/ 15873 h 15873"/>
                <a:gd name="connsiteX1" fmla="*/ 0 w 104427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5873">
                  <a:moveTo>
                    <a:pt x="104428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98F268D2-0F2C-460C-856C-E213AC3132C1}"/>
                </a:ext>
              </a:extLst>
            </p:cNvPr>
            <p:cNvSpPr/>
            <p:nvPr/>
          </p:nvSpPr>
          <p:spPr>
            <a:xfrm>
              <a:off x="7745196" y="1595140"/>
              <a:ext cx="104149" cy="15873"/>
            </a:xfrm>
            <a:custGeom>
              <a:avLst/>
              <a:gdLst>
                <a:gd name="connsiteX0" fmla="*/ 104149 w 104149"/>
                <a:gd name="connsiteY0" fmla="*/ 15873 h 15873"/>
                <a:gd name="connsiteX1" fmla="*/ 0 w 104149"/>
                <a:gd name="connsiteY1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149" h="15873">
                  <a:moveTo>
                    <a:pt x="104149" y="1587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C80F6234-A5B7-456C-B322-6460BA0FEEB7}"/>
                </a:ext>
              </a:extLst>
            </p:cNvPr>
            <p:cNvSpPr/>
            <p:nvPr/>
          </p:nvSpPr>
          <p:spPr>
            <a:xfrm>
              <a:off x="3638819" y="4637190"/>
              <a:ext cx="104427" cy="104427"/>
            </a:xfrm>
            <a:custGeom>
              <a:avLst/>
              <a:gdLst>
                <a:gd name="connsiteX0" fmla="*/ 104428 w 104427"/>
                <a:gd name="connsiteY0" fmla="*/ 0 h 104427"/>
                <a:gd name="connsiteX1" fmla="*/ 0 w 104427"/>
                <a:gd name="connsiteY1" fmla="*/ 104428 h 10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427" h="104427">
                  <a:moveTo>
                    <a:pt x="104428" y="0"/>
                  </a:moveTo>
                  <a:lnTo>
                    <a:pt x="0" y="10442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C7F9B1BD-4A64-40DA-8D9B-FC3FD02D2C1C}"/>
                </a:ext>
              </a:extLst>
            </p:cNvPr>
            <p:cNvSpPr/>
            <p:nvPr/>
          </p:nvSpPr>
          <p:spPr>
            <a:xfrm>
              <a:off x="10028125" y="4744124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0C0BEB48-9EB6-4CCD-B3BB-7EC3B0B4636B}"/>
                </a:ext>
              </a:extLst>
            </p:cNvPr>
            <p:cNvSpPr/>
            <p:nvPr/>
          </p:nvSpPr>
          <p:spPr>
            <a:xfrm>
              <a:off x="9568365" y="2044040"/>
              <a:ext cx="101642" cy="21442"/>
            </a:xfrm>
            <a:custGeom>
              <a:avLst/>
              <a:gdLst>
                <a:gd name="connsiteX0" fmla="*/ 101643 w 101642"/>
                <a:gd name="connsiteY0" fmla="*/ 21442 h 21442"/>
                <a:gd name="connsiteX1" fmla="*/ 0 w 101642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1442">
                  <a:moveTo>
                    <a:pt x="101643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E3947338-8B7C-49E6-BC14-F1548F8FDB84}"/>
                </a:ext>
              </a:extLst>
            </p:cNvPr>
            <p:cNvSpPr/>
            <p:nvPr/>
          </p:nvSpPr>
          <p:spPr>
            <a:xfrm>
              <a:off x="4780283" y="1493497"/>
              <a:ext cx="101642" cy="96073"/>
            </a:xfrm>
            <a:custGeom>
              <a:avLst/>
              <a:gdLst>
                <a:gd name="connsiteX0" fmla="*/ 101643 w 101642"/>
                <a:gd name="connsiteY0" fmla="*/ 0 h 96073"/>
                <a:gd name="connsiteX1" fmla="*/ 0 w 101642"/>
                <a:gd name="connsiteY1" fmla="*/ 96073 h 9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073">
                  <a:moveTo>
                    <a:pt x="101643" y="0"/>
                  </a:moveTo>
                  <a:lnTo>
                    <a:pt x="0" y="960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F9657879-F1D6-4F37-8FDC-3E75719CE371}"/>
                </a:ext>
              </a:extLst>
            </p:cNvPr>
            <p:cNvSpPr/>
            <p:nvPr/>
          </p:nvSpPr>
          <p:spPr>
            <a:xfrm>
              <a:off x="1358395" y="1712656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379C76B7-1EEB-4E15-83FB-3D0B4F5D183E}"/>
                </a:ext>
              </a:extLst>
            </p:cNvPr>
            <p:cNvSpPr/>
            <p:nvPr/>
          </p:nvSpPr>
          <p:spPr>
            <a:xfrm>
              <a:off x="7060707" y="136790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EA4BCE4A-0F85-4BC6-9A9E-5FE12F557A88}"/>
                </a:ext>
              </a:extLst>
            </p:cNvPr>
            <p:cNvSpPr/>
            <p:nvPr/>
          </p:nvSpPr>
          <p:spPr>
            <a:xfrm>
              <a:off x="2270119" y="4292439"/>
              <a:ext cx="101642" cy="23948"/>
            </a:xfrm>
            <a:custGeom>
              <a:avLst/>
              <a:gdLst>
                <a:gd name="connsiteX0" fmla="*/ 0 w 101642"/>
                <a:gd name="connsiteY0" fmla="*/ 0 h 23948"/>
                <a:gd name="connsiteX1" fmla="*/ 101643 w 101642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0" y="0"/>
                  </a:moveTo>
                  <a:lnTo>
                    <a:pt x="101643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19361813-4A3F-43F8-8511-B3345169D9E4}"/>
                </a:ext>
              </a:extLst>
            </p:cNvPr>
            <p:cNvSpPr/>
            <p:nvPr/>
          </p:nvSpPr>
          <p:spPr>
            <a:xfrm>
              <a:off x="3866053" y="4418031"/>
              <a:ext cx="101642" cy="96351"/>
            </a:xfrm>
            <a:custGeom>
              <a:avLst/>
              <a:gdLst>
                <a:gd name="connsiteX0" fmla="*/ 101643 w 101642"/>
                <a:gd name="connsiteY0" fmla="*/ 0 h 96351"/>
                <a:gd name="connsiteX1" fmla="*/ 0 w 101642"/>
                <a:gd name="connsiteY1" fmla="*/ 96352 h 9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96351">
                  <a:moveTo>
                    <a:pt x="101643" y="0"/>
                  </a:moveTo>
                  <a:lnTo>
                    <a:pt x="0" y="9635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53527E55-330B-442F-895D-A7953B6F460C}"/>
                </a:ext>
              </a:extLst>
            </p:cNvPr>
            <p:cNvSpPr/>
            <p:nvPr/>
          </p:nvSpPr>
          <p:spPr>
            <a:xfrm>
              <a:off x="1815650" y="5645265"/>
              <a:ext cx="101642" cy="26733"/>
            </a:xfrm>
            <a:custGeom>
              <a:avLst/>
              <a:gdLst>
                <a:gd name="connsiteX0" fmla="*/ 0 w 101642"/>
                <a:gd name="connsiteY0" fmla="*/ 0 h 26733"/>
                <a:gd name="connsiteX1" fmla="*/ 101643 w 10164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6733">
                  <a:moveTo>
                    <a:pt x="0" y="0"/>
                  </a:moveTo>
                  <a:lnTo>
                    <a:pt x="101643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D00F8EF6-E8BE-4064-BC39-96A714D8548B}"/>
                </a:ext>
              </a:extLst>
            </p:cNvPr>
            <p:cNvSpPr/>
            <p:nvPr/>
          </p:nvSpPr>
          <p:spPr>
            <a:xfrm>
              <a:off x="2500139" y="3394082"/>
              <a:ext cx="101364" cy="24227"/>
            </a:xfrm>
            <a:custGeom>
              <a:avLst/>
              <a:gdLst>
                <a:gd name="connsiteX0" fmla="*/ 0 w 101364"/>
                <a:gd name="connsiteY0" fmla="*/ 0 h 24227"/>
                <a:gd name="connsiteX1" fmla="*/ 101365 w 101364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0" y="0"/>
                  </a:moveTo>
                  <a:lnTo>
                    <a:pt x="101365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3A27D0D4-6BF6-45B6-9897-542FB882D92B}"/>
                </a:ext>
              </a:extLst>
            </p:cNvPr>
            <p:cNvSpPr/>
            <p:nvPr/>
          </p:nvSpPr>
          <p:spPr>
            <a:xfrm>
              <a:off x="2270119" y="3169632"/>
              <a:ext cx="112225" cy="8075"/>
            </a:xfrm>
            <a:custGeom>
              <a:avLst/>
              <a:gdLst>
                <a:gd name="connsiteX0" fmla="*/ 0 w 112225"/>
                <a:gd name="connsiteY0" fmla="*/ 0 h 8075"/>
                <a:gd name="connsiteX1" fmla="*/ 112225 w 112225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225" h="8075">
                  <a:moveTo>
                    <a:pt x="0" y="0"/>
                  </a:moveTo>
                  <a:lnTo>
                    <a:pt x="112225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E61ACC1D-844F-465D-9919-D277B94D4F78}"/>
                </a:ext>
              </a:extLst>
            </p:cNvPr>
            <p:cNvSpPr/>
            <p:nvPr/>
          </p:nvSpPr>
          <p:spPr>
            <a:xfrm>
              <a:off x="4320523" y="1039027"/>
              <a:ext cx="101642" cy="101643"/>
            </a:xfrm>
            <a:custGeom>
              <a:avLst/>
              <a:gdLst>
                <a:gd name="connsiteX0" fmla="*/ 101643 w 101642"/>
                <a:gd name="connsiteY0" fmla="*/ 0 h 101643"/>
                <a:gd name="connsiteX1" fmla="*/ 0 w 101642"/>
                <a:gd name="connsiteY1" fmla="*/ 101643 h 10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01643">
                  <a:moveTo>
                    <a:pt x="101643" y="0"/>
                  </a:moveTo>
                  <a:lnTo>
                    <a:pt x="0" y="1016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7FF3F254-B2DB-4ECA-9EFD-CBD8E50450F2}"/>
                </a:ext>
              </a:extLst>
            </p:cNvPr>
            <p:cNvSpPr/>
            <p:nvPr/>
          </p:nvSpPr>
          <p:spPr>
            <a:xfrm>
              <a:off x="2045669" y="4744124"/>
              <a:ext cx="101364" cy="24227"/>
            </a:xfrm>
            <a:custGeom>
              <a:avLst/>
              <a:gdLst>
                <a:gd name="connsiteX0" fmla="*/ 101365 w 101364"/>
                <a:gd name="connsiteY0" fmla="*/ 24227 h 24227"/>
                <a:gd name="connsiteX1" fmla="*/ 0 w 101364"/>
                <a:gd name="connsiteY1" fmla="*/ 0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4227">
                  <a:moveTo>
                    <a:pt x="101365" y="24227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B05E648E-B792-4FC7-A36A-83352D8B8D54}"/>
                </a:ext>
              </a:extLst>
            </p:cNvPr>
            <p:cNvSpPr/>
            <p:nvPr/>
          </p:nvSpPr>
          <p:spPr>
            <a:xfrm>
              <a:off x="8659426" y="1595140"/>
              <a:ext cx="101642" cy="18657"/>
            </a:xfrm>
            <a:custGeom>
              <a:avLst/>
              <a:gdLst>
                <a:gd name="connsiteX0" fmla="*/ 101643 w 101642"/>
                <a:gd name="connsiteY0" fmla="*/ 18658 h 18657"/>
                <a:gd name="connsiteX1" fmla="*/ 0 w 101642"/>
                <a:gd name="connsiteY1" fmla="*/ 0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18657">
                  <a:moveTo>
                    <a:pt x="101643" y="1865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68AEC79C-1BAE-40A2-B509-8588D348C7ED}"/>
                </a:ext>
              </a:extLst>
            </p:cNvPr>
            <p:cNvSpPr/>
            <p:nvPr/>
          </p:nvSpPr>
          <p:spPr>
            <a:xfrm>
              <a:off x="9798384" y="2268768"/>
              <a:ext cx="101364" cy="23948"/>
            </a:xfrm>
            <a:custGeom>
              <a:avLst/>
              <a:gdLst>
                <a:gd name="connsiteX0" fmla="*/ 101365 w 101364"/>
                <a:gd name="connsiteY0" fmla="*/ 23949 h 23948"/>
                <a:gd name="connsiteX1" fmla="*/ 0 w 101364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364" h="23948">
                  <a:moveTo>
                    <a:pt x="101365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9CC1547D-7A64-472A-8834-51874132513F}"/>
                </a:ext>
              </a:extLst>
            </p:cNvPr>
            <p:cNvSpPr/>
            <p:nvPr/>
          </p:nvSpPr>
          <p:spPr>
            <a:xfrm>
              <a:off x="676691" y="2268768"/>
              <a:ext cx="101642" cy="23948"/>
            </a:xfrm>
            <a:custGeom>
              <a:avLst/>
              <a:gdLst>
                <a:gd name="connsiteX0" fmla="*/ 101643 w 101642"/>
                <a:gd name="connsiteY0" fmla="*/ 23949 h 23948"/>
                <a:gd name="connsiteX1" fmla="*/ 0 w 101642"/>
                <a:gd name="connsiteY1" fmla="*/ 0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42" h="23948">
                  <a:moveTo>
                    <a:pt x="101643" y="2394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8F392AD7-ABCA-4C95-9B34-692031F653F4}"/>
                </a:ext>
              </a:extLst>
            </p:cNvPr>
            <p:cNvSpPr/>
            <p:nvPr/>
          </p:nvSpPr>
          <p:spPr>
            <a:xfrm>
              <a:off x="10030910" y="2717947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9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9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39FA7888-C4AD-49C3-A99D-E67ECCB1990D}"/>
                </a:ext>
              </a:extLst>
            </p:cNvPr>
            <p:cNvSpPr/>
            <p:nvPr/>
          </p:nvSpPr>
          <p:spPr>
            <a:xfrm>
              <a:off x="446950" y="2044040"/>
              <a:ext cx="98858" cy="21442"/>
            </a:xfrm>
            <a:custGeom>
              <a:avLst/>
              <a:gdLst>
                <a:gd name="connsiteX0" fmla="*/ 98858 w 98858"/>
                <a:gd name="connsiteY0" fmla="*/ 21442 h 21442"/>
                <a:gd name="connsiteX1" fmla="*/ 0 w 98858"/>
                <a:gd name="connsiteY1" fmla="*/ 0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1442">
                  <a:moveTo>
                    <a:pt x="98858" y="21442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95FF361B-727F-4052-B366-AB933C49B1E7}"/>
                </a:ext>
              </a:extLst>
            </p:cNvPr>
            <p:cNvSpPr/>
            <p:nvPr/>
          </p:nvSpPr>
          <p:spPr>
            <a:xfrm>
              <a:off x="5922027" y="688707"/>
              <a:ext cx="96073" cy="32024"/>
            </a:xfrm>
            <a:custGeom>
              <a:avLst/>
              <a:gdLst>
                <a:gd name="connsiteX0" fmla="*/ 0 w 96073"/>
                <a:gd name="connsiteY0" fmla="*/ 0 h 32024"/>
                <a:gd name="connsiteX1" fmla="*/ 96074 w 96073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32024">
                  <a:moveTo>
                    <a:pt x="0" y="0"/>
                  </a:moveTo>
                  <a:lnTo>
                    <a:pt x="9607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17F1E87C-EB58-451F-AE15-F91612327772}"/>
                </a:ext>
              </a:extLst>
            </p:cNvPr>
            <p:cNvSpPr/>
            <p:nvPr/>
          </p:nvSpPr>
          <p:spPr>
            <a:xfrm>
              <a:off x="9113895" y="5645265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07009754-324C-4250-B337-AECFAB1CE9C7}"/>
                </a:ext>
              </a:extLst>
            </p:cNvPr>
            <p:cNvSpPr/>
            <p:nvPr/>
          </p:nvSpPr>
          <p:spPr>
            <a:xfrm>
              <a:off x="5700083" y="693998"/>
              <a:ext cx="98858" cy="16151"/>
            </a:xfrm>
            <a:custGeom>
              <a:avLst/>
              <a:gdLst>
                <a:gd name="connsiteX0" fmla="*/ 0 w 98858"/>
                <a:gd name="connsiteY0" fmla="*/ 0 h 16151"/>
                <a:gd name="connsiteX1" fmla="*/ 98858 w 98858"/>
                <a:gd name="connsiteY1" fmla="*/ 16151 h 16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16151">
                  <a:moveTo>
                    <a:pt x="0" y="0"/>
                  </a:moveTo>
                  <a:lnTo>
                    <a:pt x="98858" y="1615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36546208-8489-4CC9-B5F3-A18B373B6324}"/>
                </a:ext>
              </a:extLst>
            </p:cNvPr>
            <p:cNvSpPr/>
            <p:nvPr/>
          </p:nvSpPr>
          <p:spPr>
            <a:xfrm>
              <a:off x="10252854" y="4067989"/>
              <a:ext cx="98858" cy="23948"/>
            </a:xfrm>
            <a:custGeom>
              <a:avLst/>
              <a:gdLst>
                <a:gd name="connsiteX0" fmla="*/ 0 w 98858"/>
                <a:gd name="connsiteY0" fmla="*/ 0 h 23948"/>
                <a:gd name="connsiteX1" fmla="*/ 98858 w 98858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8858" h="23948">
                  <a:moveTo>
                    <a:pt x="0" y="0"/>
                  </a:moveTo>
                  <a:lnTo>
                    <a:pt x="98858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A3E8E212-E16B-4D6B-88B6-EB8BFA792C5E}"/>
                </a:ext>
              </a:extLst>
            </p:cNvPr>
            <p:cNvSpPr/>
            <p:nvPr/>
          </p:nvSpPr>
          <p:spPr>
            <a:xfrm>
              <a:off x="2045669" y="3164341"/>
              <a:ext cx="96073" cy="29239"/>
            </a:xfrm>
            <a:custGeom>
              <a:avLst/>
              <a:gdLst>
                <a:gd name="connsiteX0" fmla="*/ 0 w 96073"/>
                <a:gd name="connsiteY0" fmla="*/ 0 h 29239"/>
                <a:gd name="connsiteX1" fmla="*/ 96073 w 96073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9239">
                  <a:moveTo>
                    <a:pt x="0" y="0"/>
                  </a:moveTo>
                  <a:lnTo>
                    <a:pt x="96073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883BB91F-C14B-436D-9666-CBF5E31D6D4B}"/>
                </a:ext>
              </a:extLst>
            </p:cNvPr>
            <p:cNvSpPr/>
            <p:nvPr/>
          </p:nvSpPr>
          <p:spPr>
            <a:xfrm>
              <a:off x="2500139" y="3846045"/>
              <a:ext cx="96073" cy="26733"/>
            </a:xfrm>
            <a:custGeom>
              <a:avLst/>
              <a:gdLst>
                <a:gd name="connsiteX0" fmla="*/ 96073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3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E3D25F64-9750-45A2-B33D-FF9788F66C20}"/>
                </a:ext>
              </a:extLst>
            </p:cNvPr>
            <p:cNvSpPr/>
            <p:nvPr/>
          </p:nvSpPr>
          <p:spPr>
            <a:xfrm>
              <a:off x="10252854" y="4295224"/>
              <a:ext cx="96073" cy="26733"/>
            </a:xfrm>
            <a:custGeom>
              <a:avLst/>
              <a:gdLst>
                <a:gd name="connsiteX0" fmla="*/ 96074 w 96073"/>
                <a:gd name="connsiteY0" fmla="*/ 26734 h 26733"/>
                <a:gd name="connsiteX1" fmla="*/ 0 w 96073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96074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72EBC134-F0FE-4592-9A4D-EC4BA1ABAE76}"/>
                </a:ext>
              </a:extLst>
            </p:cNvPr>
            <p:cNvSpPr/>
            <p:nvPr/>
          </p:nvSpPr>
          <p:spPr>
            <a:xfrm>
              <a:off x="5461988" y="469548"/>
              <a:ext cx="106933" cy="21442"/>
            </a:xfrm>
            <a:custGeom>
              <a:avLst/>
              <a:gdLst>
                <a:gd name="connsiteX0" fmla="*/ 0 w 106933"/>
                <a:gd name="connsiteY0" fmla="*/ 0 h 21442"/>
                <a:gd name="connsiteX1" fmla="*/ 106934 w 106933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33" h="21442">
                  <a:moveTo>
                    <a:pt x="0" y="0"/>
                  </a:moveTo>
                  <a:lnTo>
                    <a:pt x="106934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F3A2A600-C102-484E-8084-84DEC52CF005}"/>
                </a:ext>
              </a:extLst>
            </p:cNvPr>
            <p:cNvSpPr/>
            <p:nvPr/>
          </p:nvSpPr>
          <p:spPr>
            <a:xfrm>
              <a:off x="6606237" y="1143177"/>
              <a:ext cx="96351" cy="24227"/>
            </a:xfrm>
            <a:custGeom>
              <a:avLst/>
              <a:gdLst>
                <a:gd name="connsiteX0" fmla="*/ 0 w 96351"/>
                <a:gd name="connsiteY0" fmla="*/ 0 h 24227"/>
                <a:gd name="connsiteX1" fmla="*/ 96352 w 96351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4227">
                  <a:moveTo>
                    <a:pt x="0" y="0"/>
                  </a:moveTo>
                  <a:lnTo>
                    <a:pt x="96352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FEBF48B6-AEBD-4499-9A92-BB8AC7EE27CD}"/>
                </a:ext>
              </a:extLst>
            </p:cNvPr>
            <p:cNvSpPr/>
            <p:nvPr/>
          </p:nvSpPr>
          <p:spPr>
            <a:xfrm>
              <a:off x="2270119" y="4067989"/>
              <a:ext cx="96351" cy="32024"/>
            </a:xfrm>
            <a:custGeom>
              <a:avLst/>
              <a:gdLst>
                <a:gd name="connsiteX0" fmla="*/ 0 w 96351"/>
                <a:gd name="connsiteY0" fmla="*/ 0 h 32024"/>
                <a:gd name="connsiteX1" fmla="*/ 96352 w 963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32024">
                  <a:moveTo>
                    <a:pt x="0" y="0"/>
                  </a:moveTo>
                  <a:lnTo>
                    <a:pt x="9635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BFD0976F-486F-437F-86FB-13346AA65161}"/>
                </a:ext>
              </a:extLst>
            </p:cNvPr>
            <p:cNvSpPr/>
            <p:nvPr/>
          </p:nvSpPr>
          <p:spPr>
            <a:xfrm>
              <a:off x="1363965" y="2717947"/>
              <a:ext cx="96073" cy="21164"/>
            </a:xfrm>
            <a:custGeom>
              <a:avLst/>
              <a:gdLst>
                <a:gd name="connsiteX0" fmla="*/ 0 w 96073"/>
                <a:gd name="connsiteY0" fmla="*/ 0 h 21164"/>
                <a:gd name="connsiteX1" fmla="*/ 96073 w 96073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1164">
                  <a:moveTo>
                    <a:pt x="0" y="0"/>
                  </a:moveTo>
                  <a:lnTo>
                    <a:pt x="96073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A122A7C3-82BD-4F34-B8B8-FD5060A2D20C}"/>
                </a:ext>
              </a:extLst>
            </p:cNvPr>
            <p:cNvSpPr/>
            <p:nvPr/>
          </p:nvSpPr>
          <p:spPr>
            <a:xfrm>
              <a:off x="8883876" y="1592355"/>
              <a:ext cx="96351" cy="26733"/>
            </a:xfrm>
            <a:custGeom>
              <a:avLst/>
              <a:gdLst>
                <a:gd name="connsiteX0" fmla="*/ 0 w 96351"/>
                <a:gd name="connsiteY0" fmla="*/ 0 h 26733"/>
                <a:gd name="connsiteX1" fmla="*/ 96352 w 96351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351" h="26733">
                  <a:moveTo>
                    <a:pt x="0" y="0"/>
                  </a:moveTo>
                  <a:lnTo>
                    <a:pt x="9635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5AD655EC-01EE-4DC4-8099-0B9F96D76D07}"/>
                </a:ext>
              </a:extLst>
            </p:cNvPr>
            <p:cNvSpPr/>
            <p:nvPr/>
          </p:nvSpPr>
          <p:spPr>
            <a:xfrm>
              <a:off x="1593706" y="2945182"/>
              <a:ext cx="93567" cy="26733"/>
            </a:xfrm>
            <a:custGeom>
              <a:avLst/>
              <a:gdLst>
                <a:gd name="connsiteX0" fmla="*/ 0 w 93567"/>
                <a:gd name="connsiteY0" fmla="*/ 0 h 26733"/>
                <a:gd name="connsiteX1" fmla="*/ 93567 w 93567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0" y="0"/>
                  </a:moveTo>
                  <a:lnTo>
                    <a:pt x="935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238F5B9C-8D1A-4DE4-9996-EBC5D968D364}"/>
                </a:ext>
              </a:extLst>
            </p:cNvPr>
            <p:cNvSpPr/>
            <p:nvPr/>
          </p:nvSpPr>
          <p:spPr>
            <a:xfrm>
              <a:off x="9343915" y="1819590"/>
              <a:ext cx="93567" cy="26733"/>
            </a:xfrm>
            <a:custGeom>
              <a:avLst/>
              <a:gdLst>
                <a:gd name="connsiteX0" fmla="*/ 93567 w 93567"/>
                <a:gd name="connsiteY0" fmla="*/ 26733 h 26733"/>
                <a:gd name="connsiteX1" fmla="*/ 0 w 93567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6733">
                  <a:moveTo>
                    <a:pt x="93567" y="26733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12053FAF-0418-42C2-9488-4B8079529454}"/>
                </a:ext>
              </a:extLst>
            </p:cNvPr>
            <p:cNvSpPr/>
            <p:nvPr/>
          </p:nvSpPr>
          <p:spPr>
            <a:xfrm>
              <a:off x="8199665" y="1367905"/>
              <a:ext cx="90782" cy="37315"/>
            </a:xfrm>
            <a:custGeom>
              <a:avLst/>
              <a:gdLst>
                <a:gd name="connsiteX0" fmla="*/ 0 w 90782"/>
                <a:gd name="connsiteY0" fmla="*/ 0 h 37315"/>
                <a:gd name="connsiteX1" fmla="*/ 90783 w 9078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315">
                  <a:moveTo>
                    <a:pt x="0" y="0"/>
                  </a:moveTo>
                  <a:lnTo>
                    <a:pt x="90783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5B4003BB-DAA3-4CDD-88CD-DD00E812F9A5}"/>
                </a:ext>
              </a:extLst>
            </p:cNvPr>
            <p:cNvSpPr/>
            <p:nvPr/>
          </p:nvSpPr>
          <p:spPr>
            <a:xfrm>
              <a:off x="2270119" y="3394082"/>
              <a:ext cx="90782" cy="37593"/>
            </a:xfrm>
            <a:custGeom>
              <a:avLst/>
              <a:gdLst>
                <a:gd name="connsiteX0" fmla="*/ 0 w 90782"/>
                <a:gd name="connsiteY0" fmla="*/ 0 h 37593"/>
                <a:gd name="connsiteX1" fmla="*/ 90782 w 9078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7593">
                  <a:moveTo>
                    <a:pt x="0" y="0"/>
                  </a:moveTo>
                  <a:lnTo>
                    <a:pt x="9078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B32A2004-5AF0-4212-8476-8490C8A03A97}"/>
                </a:ext>
              </a:extLst>
            </p:cNvPr>
            <p:cNvSpPr/>
            <p:nvPr/>
          </p:nvSpPr>
          <p:spPr>
            <a:xfrm>
              <a:off x="10030910" y="2493218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D3B2171A-5557-458D-96F6-11B7AA1D0EAA}"/>
                </a:ext>
              </a:extLst>
            </p:cNvPr>
            <p:cNvSpPr/>
            <p:nvPr/>
          </p:nvSpPr>
          <p:spPr>
            <a:xfrm>
              <a:off x="9800890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8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2B624FEB-6E93-4E42-B133-EA9CBBBFCB7A}"/>
                </a:ext>
              </a:extLst>
            </p:cNvPr>
            <p:cNvSpPr/>
            <p:nvPr/>
          </p:nvSpPr>
          <p:spPr>
            <a:xfrm>
              <a:off x="1818434" y="5193302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2B2AC339-4F00-40BC-B010-710656FE67F9}"/>
                </a:ext>
              </a:extLst>
            </p:cNvPr>
            <p:cNvSpPr/>
            <p:nvPr/>
          </p:nvSpPr>
          <p:spPr>
            <a:xfrm>
              <a:off x="2048175" y="4519674"/>
              <a:ext cx="93567" cy="29518"/>
            </a:xfrm>
            <a:custGeom>
              <a:avLst/>
              <a:gdLst>
                <a:gd name="connsiteX0" fmla="*/ 0 w 93567"/>
                <a:gd name="connsiteY0" fmla="*/ 0 h 29518"/>
                <a:gd name="connsiteX1" fmla="*/ 93567 w 9356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9518">
                  <a:moveTo>
                    <a:pt x="0" y="0"/>
                  </a:moveTo>
                  <a:lnTo>
                    <a:pt x="935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C2ADC84-AADA-4F18-A043-D7E1F66607C6}"/>
                </a:ext>
              </a:extLst>
            </p:cNvPr>
            <p:cNvSpPr/>
            <p:nvPr/>
          </p:nvSpPr>
          <p:spPr>
            <a:xfrm>
              <a:off x="6154552" y="918726"/>
              <a:ext cx="93567" cy="23948"/>
            </a:xfrm>
            <a:custGeom>
              <a:avLst/>
              <a:gdLst>
                <a:gd name="connsiteX0" fmla="*/ 0 w 93567"/>
                <a:gd name="connsiteY0" fmla="*/ 0 h 23948"/>
                <a:gd name="connsiteX1" fmla="*/ 93567 w 93567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567" h="23948">
                  <a:moveTo>
                    <a:pt x="0" y="0"/>
                  </a:moveTo>
                  <a:lnTo>
                    <a:pt x="935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DF28544B-8B8F-4B45-B6F9-E727A618369C}"/>
                </a:ext>
              </a:extLst>
            </p:cNvPr>
            <p:cNvSpPr/>
            <p:nvPr/>
          </p:nvSpPr>
          <p:spPr>
            <a:xfrm>
              <a:off x="6376496" y="918726"/>
              <a:ext cx="90782" cy="29239"/>
            </a:xfrm>
            <a:custGeom>
              <a:avLst/>
              <a:gdLst>
                <a:gd name="connsiteX0" fmla="*/ 0 w 90782"/>
                <a:gd name="connsiteY0" fmla="*/ 0 h 29239"/>
                <a:gd name="connsiteX1" fmla="*/ 90782 w 90782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239">
                  <a:moveTo>
                    <a:pt x="0" y="0"/>
                  </a:moveTo>
                  <a:lnTo>
                    <a:pt x="90782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7CEA550F-803B-41FB-9212-D712EA2AA2FF}"/>
                </a:ext>
              </a:extLst>
            </p:cNvPr>
            <p:cNvSpPr/>
            <p:nvPr/>
          </p:nvSpPr>
          <p:spPr>
            <a:xfrm>
              <a:off x="10260651" y="3169632"/>
              <a:ext cx="91060" cy="23948"/>
            </a:xfrm>
            <a:custGeom>
              <a:avLst/>
              <a:gdLst>
                <a:gd name="connsiteX0" fmla="*/ 0 w 91060"/>
                <a:gd name="connsiteY0" fmla="*/ 0 h 23948"/>
                <a:gd name="connsiteX1" fmla="*/ 91061 w 91060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3948">
                  <a:moveTo>
                    <a:pt x="0" y="0"/>
                  </a:moveTo>
                  <a:lnTo>
                    <a:pt x="91061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E33A176B-DD62-413C-8A8C-F1C61507608A}"/>
                </a:ext>
              </a:extLst>
            </p:cNvPr>
            <p:cNvSpPr/>
            <p:nvPr/>
          </p:nvSpPr>
          <p:spPr>
            <a:xfrm>
              <a:off x="10252854" y="4519674"/>
              <a:ext cx="90782" cy="32024"/>
            </a:xfrm>
            <a:custGeom>
              <a:avLst/>
              <a:gdLst>
                <a:gd name="connsiteX0" fmla="*/ 90782 w 90782"/>
                <a:gd name="connsiteY0" fmla="*/ 32025 h 32024"/>
                <a:gd name="connsiteX1" fmla="*/ 0 w 90782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2024">
                  <a:moveTo>
                    <a:pt x="90782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7C41D7F6-3081-4F06-926A-F1302039764B}"/>
                </a:ext>
              </a:extLst>
            </p:cNvPr>
            <p:cNvSpPr/>
            <p:nvPr/>
          </p:nvSpPr>
          <p:spPr>
            <a:xfrm>
              <a:off x="7515176" y="1367905"/>
              <a:ext cx="91060" cy="37315"/>
            </a:xfrm>
            <a:custGeom>
              <a:avLst/>
              <a:gdLst>
                <a:gd name="connsiteX0" fmla="*/ 0 w 91060"/>
                <a:gd name="connsiteY0" fmla="*/ 0 h 37315"/>
                <a:gd name="connsiteX1" fmla="*/ 91061 w 9106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7315">
                  <a:moveTo>
                    <a:pt x="0" y="0"/>
                  </a:moveTo>
                  <a:lnTo>
                    <a:pt x="91061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62054613-3B10-4BCC-B988-B755AF1353C8}"/>
                </a:ext>
              </a:extLst>
            </p:cNvPr>
            <p:cNvSpPr/>
            <p:nvPr/>
          </p:nvSpPr>
          <p:spPr>
            <a:xfrm>
              <a:off x="9343915" y="5647772"/>
              <a:ext cx="90782" cy="29518"/>
            </a:xfrm>
            <a:custGeom>
              <a:avLst/>
              <a:gdLst>
                <a:gd name="connsiteX0" fmla="*/ 90783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3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3D64E564-8A4C-4970-BD2D-80BA9E0830BA}"/>
                </a:ext>
              </a:extLst>
            </p:cNvPr>
            <p:cNvSpPr/>
            <p:nvPr/>
          </p:nvSpPr>
          <p:spPr>
            <a:xfrm>
              <a:off x="7290726" y="1370411"/>
              <a:ext cx="90782" cy="29518"/>
            </a:xfrm>
            <a:custGeom>
              <a:avLst/>
              <a:gdLst>
                <a:gd name="connsiteX0" fmla="*/ 90782 w 90782"/>
                <a:gd name="connsiteY0" fmla="*/ 29518 h 29518"/>
                <a:gd name="connsiteX1" fmla="*/ 0 w 90782"/>
                <a:gd name="connsiteY1" fmla="*/ 0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29518">
                  <a:moveTo>
                    <a:pt x="90782" y="29518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68041824-089D-4181-8839-FEA4E236D04B}"/>
                </a:ext>
              </a:extLst>
            </p:cNvPr>
            <p:cNvSpPr/>
            <p:nvPr/>
          </p:nvSpPr>
          <p:spPr>
            <a:xfrm>
              <a:off x="7745196" y="1370411"/>
              <a:ext cx="90782" cy="34809"/>
            </a:xfrm>
            <a:custGeom>
              <a:avLst/>
              <a:gdLst>
                <a:gd name="connsiteX0" fmla="*/ 90782 w 90782"/>
                <a:gd name="connsiteY0" fmla="*/ 34809 h 34809"/>
                <a:gd name="connsiteX1" fmla="*/ 0 w 90782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782" h="34809">
                  <a:moveTo>
                    <a:pt x="9078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F822691B-0F8D-460A-96B8-A8F1633C9EE5}"/>
                </a:ext>
              </a:extLst>
            </p:cNvPr>
            <p:cNvSpPr/>
            <p:nvPr/>
          </p:nvSpPr>
          <p:spPr>
            <a:xfrm>
              <a:off x="2729880" y="3621316"/>
              <a:ext cx="91060" cy="26733"/>
            </a:xfrm>
            <a:custGeom>
              <a:avLst/>
              <a:gdLst>
                <a:gd name="connsiteX0" fmla="*/ 91061 w 91060"/>
                <a:gd name="connsiteY0" fmla="*/ 26734 h 26733"/>
                <a:gd name="connsiteX1" fmla="*/ 0 w 91060"/>
                <a:gd name="connsiteY1" fmla="*/ 0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26733">
                  <a:moveTo>
                    <a:pt x="91061" y="2673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B728B64F-50F6-4603-B2AE-D177A39F7757}"/>
                </a:ext>
              </a:extLst>
            </p:cNvPr>
            <p:cNvSpPr/>
            <p:nvPr/>
          </p:nvSpPr>
          <p:spPr>
            <a:xfrm>
              <a:off x="8429406" y="1370411"/>
              <a:ext cx="91060" cy="32024"/>
            </a:xfrm>
            <a:custGeom>
              <a:avLst/>
              <a:gdLst>
                <a:gd name="connsiteX0" fmla="*/ 91061 w 91060"/>
                <a:gd name="connsiteY0" fmla="*/ 32025 h 32024"/>
                <a:gd name="connsiteX1" fmla="*/ 0 w 91060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060" h="32024">
                  <a:moveTo>
                    <a:pt x="91061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57EDEB54-EB28-44C4-B79F-D9133D759F9E}"/>
                </a:ext>
              </a:extLst>
            </p:cNvPr>
            <p:cNvSpPr/>
            <p:nvPr/>
          </p:nvSpPr>
          <p:spPr>
            <a:xfrm>
              <a:off x="9576440" y="5420537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7 w 88276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7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65CD5E07-46FA-407E-8BDC-8020A2821BA6}"/>
                </a:ext>
              </a:extLst>
            </p:cNvPr>
            <p:cNvSpPr/>
            <p:nvPr/>
          </p:nvSpPr>
          <p:spPr>
            <a:xfrm>
              <a:off x="10030910" y="4968852"/>
              <a:ext cx="88276" cy="32024"/>
            </a:xfrm>
            <a:custGeom>
              <a:avLst/>
              <a:gdLst>
                <a:gd name="connsiteX0" fmla="*/ 0 w 88276"/>
                <a:gd name="connsiteY0" fmla="*/ 0 h 32024"/>
                <a:gd name="connsiteX1" fmla="*/ 88276 w 88276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0" y="0"/>
                  </a:moveTo>
                  <a:lnTo>
                    <a:pt x="88276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E948E893-8CEF-4A6A-BC05-5CF47A6AE9B9}"/>
                </a:ext>
              </a:extLst>
            </p:cNvPr>
            <p:cNvSpPr/>
            <p:nvPr/>
          </p:nvSpPr>
          <p:spPr>
            <a:xfrm>
              <a:off x="1815650" y="3169632"/>
              <a:ext cx="85491" cy="37315"/>
            </a:xfrm>
            <a:custGeom>
              <a:avLst/>
              <a:gdLst>
                <a:gd name="connsiteX0" fmla="*/ 0 w 85491"/>
                <a:gd name="connsiteY0" fmla="*/ 0 h 37315"/>
                <a:gd name="connsiteX1" fmla="*/ 85492 w 85491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315">
                  <a:moveTo>
                    <a:pt x="0" y="0"/>
                  </a:moveTo>
                  <a:lnTo>
                    <a:pt x="8549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BC044630-E6F1-4497-B617-4DE6699CFC1B}"/>
                </a:ext>
              </a:extLst>
            </p:cNvPr>
            <p:cNvSpPr/>
            <p:nvPr/>
          </p:nvSpPr>
          <p:spPr>
            <a:xfrm>
              <a:off x="9113895" y="1595140"/>
              <a:ext cx="88276" cy="32024"/>
            </a:xfrm>
            <a:custGeom>
              <a:avLst/>
              <a:gdLst>
                <a:gd name="connsiteX0" fmla="*/ 88276 w 88276"/>
                <a:gd name="connsiteY0" fmla="*/ 32024 h 32024"/>
                <a:gd name="connsiteX1" fmla="*/ 0 w 88276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32024">
                  <a:moveTo>
                    <a:pt x="88276" y="32024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205654BE-75B5-4B55-A41B-35B2593C69B8}"/>
                </a:ext>
              </a:extLst>
            </p:cNvPr>
            <p:cNvSpPr/>
            <p:nvPr/>
          </p:nvSpPr>
          <p:spPr>
            <a:xfrm>
              <a:off x="6830966" y="1143177"/>
              <a:ext cx="87997" cy="34809"/>
            </a:xfrm>
            <a:custGeom>
              <a:avLst/>
              <a:gdLst>
                <a:gd name="connsiteX0" fmla="*/ 0 w 87997"/>
                <a:gd name="connsiteY0" fmla="*/ 0 h 34809"/>
                <a:gd name="connsiteX1" fmla="*/ 87998 w 8799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997" h="34809">
                  <a:moveTo>
                    <a:pt x="0" y="0"/>
                  </a:moveTo>
                  <a:lnTo>
                    <a:pt x="8799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34F23FE-D294-4515-BF50-ADADF1249083}"/>
                </a:ext>
              </a:extLst>
            </p:cNvPr>
            <p:cNvSpPr/>
            <p:nvPr/>
          </p:nvSpPr>
          <p:spPr>
            <a:xfrm>
              <a:off x="1823725" y="5423322"/>
              <a:ext cx="88276" cy="21442"/>
            </a:xfrm>
            <a:custGeom>
              <a:avLst/>
              <a:gdLst>
                <a:gd name="connsiteX0" fmla="*/ 0 w 88276"/>
                <a:gd name="connsiteY0" fmla="*/ 0 h 21442"/>
                <a:gd name="connsiteX1" fmla="*/ 88276 w 88276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276" h="21442">
                  <a:moveTo>
                    <a:pt x="0" y="0"/>
                  </a:moveTo>
                  <a:lnTo>
                    <a:pt x="88276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C26436A5-C309-4544-A091-F8F0314F682D}"/>
                </a:ext>
              </a:extLst>
            </p:cNvPr>
            <p:cNvSpPr/>
            <p:nvPr/>
          </p:nvSpPr>
          <p:spPr>
            <a:xfrm>
              <a:off x="10260651" y="2945182"/>
              <a:ext cx="85769" cy="29239"/>
            </a:xfrm>
            <a:custGeom>
              <a:avLst/>
              <a:gdLst>
                <a:gd name="connsiteX0" fmla="*/ 0 w 85769"/>
                <a:gd name="connsiteY0" fmla="*/ 0 h 29239"/>
                <a:gd name="connsiteX1" fmla="*/ 85770 w 85769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29239">
                  <a:moveTo>
                    <a:pt x="0" y="0"/>
                  </a:moveTo>
                  <a:lnTo>
                    <a:pt x="85770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45F49D35-6D8B-43E9-9A20-6F16F612A96B}"/>
                </a:ext>
              </a:extLst>
            </p:cNvPr>
            <p:cNvSpPr/>
            <p:nvPr/>
          </p:nvSpPr>
          <p:spPr>
            <a:xfrm>
              <a:off x="449456" y="2268768"/>
              <a:ext cx="82985" cy="40100"/>
            </a:xfrm>
            <a:custGeom>
              <a:avLst/>
              <a:gdLst>
                <a:gd name="connsiteX0" fmla="*/ 0 w 82985"/>
                <a:gd name="connsiteY0" fmla="*/ 0 h 40100"/>
                <a:gd name="connsiteX1" fmla="*/ 82985 w 8298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40100">
                  <a:moveTo>
                    <a:pt x="0" y="0"/>
                  </a:moveTo>
                  <a:lnTo>
                    <a:pt x="8298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39682C83-03E9-4F8B-BEA5-994151CA7BD0}"/>
                </a:ext>
              </a:extLst>
            </p:cNvPr>
            <p:cNvSpPr/>
            <p:nvPr/>
          </p:nvSpPr>
          <p:spPr>
            <a:xfrm>
              <a:off x="1585630" y="5420537"/>
              <a:ext cx="85769" cy="37593"/>
            </a:xfrm>
            <a:custGeom>
              <a:avLst/>
              <a:gdLst>
                <a:gd name="connsiteX0" fmla="*/ 0 w 85769"/>
                <a:gd name="connsiteY0" fmla="*/ 0 h 37593"/>
                <a:gd name="connsiteX1" fmla="*/ 85770 w 85769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593">
                  <a:moveTo>
                    <a:pt x="0" y="0"/>
                  </a:moveTo>
                  <a:lnTo>
                    <a:pt x="8577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5452F8EF-308C-4C6D-B951-31A57D0DDC42}"/>
                </a:ext>
              </a:extLst>
            </p:cNvPr>
            <p:cNvSpPr/>
            <p:nvPr/>
          </p:nvSpPr>
          <p:spPr>
            <a:xfrm>
              <a:off x="1585630" y="5645265"/>
              <a:ext cx="85769" cy="37315"/>
            </a:xfrm>
            <a:custGeom>
              <a:avLst/>
              <a:gdLst>
                <a:gd name="connsiteX0" fmla="*/ 0 w 85769"/>
                <a:gd name="connsiteY0" fmla="*/ 0 h 37315"/>
                <a:gd name="connsiteX1" fmla="*/ 85770 w 85769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7315">
                  <a:moveTo>
                    <a:pt x="0" y="0"/>
                  </a:moveTo>
                  <a:lnTo>
                    <a:pt x="8577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19F4F935-0E79-4DC5-BB84-C455281F2778}"/>
                </a:ext>
              </a:extLst>
            </p:cNvPr>
            <p:cNvSpPr/>
            <p:nvPr/>
          </p:nvSpPr>
          <p:spPr>
            <a:xfrm>
              <a:off x="901420" y="2496003"/>
              <a:ext cx="96073" cy="26733"/>
            </a:xfrm>
            <a:custGeom>
              <a:avLst/>
              <a:gdLst>
                <a:gd name="connsiteX0" fmla="*/ 0 w 96073"/>
                <a:gd name="connsiteY0" fmla="*/ 0 h 26733"/>
                <a:gd name="connsiteX1" fmla="*/ 96074 w 96073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6073" h="26733">
                  <a:moveTo>
                    <a:pt x="0" y="0"/>
                  </a:moveTo>
                  <a:lnTo>
                    <a:pt x="96074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746203AA-2571-434E-A493-0F0170853027}"/>
                </a:ext>
              </a:extLst>
            </p:cNvPr>
            <p:cNvSpPr/>
            <p:nvPr/>
          </p:nvSpPr>
          <p:spPr>
            <a:xfrm>
              <a:off x="1818434" y="4968852"/>
              <a:ext cx="85491" cy="32024"/>
            </a:xfrm>
            <a:custGeom>
              <a:avLst/>
              <a:gdLst>
                <a:gd name="connsiteX0" fmla="*/ 0 w 85491"/>
                <a:gd name="connsiteY0" fmla="*/ 0 h 32024"/>
                <a:gd name="connsiteX1" fmla="*/ 85492 w 8549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2024">
                  <a:moveTo>
                    <a:pt x="0" y="0"/>
                  </a:moveTo>
                  <a:lnTo>
                    <a:pt x="8549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27C1C28E-A5DF-4733-9CDF-E885BC8FE650}"/>
                </a:ext>
              </a:extLst>
            </p:cNvPr>
            <p:cNvSpPr/>
            <p:nvPr/>
          </p:nvSpPr>
          <p:spPr>
            <a:xfrm>
              <a:off x="7974937" y="1370411"/>
              <a:ext cx="85769" cy="32024"/>
            </a:xfrm>
            <a:custGeom>
              <a:avLst/>
              <a:gdLst>
                <a:gd name="connsiteX0" fmla="*/ 85770 w 85769"/>
                <a:gd name="connsiteY0" fmla="*/ 32025 h 32024"/>
                <a:gd name="connsiteX1" fmla="*/ 0 w 85769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69" h="32024">
                  <a:moveTo>
                    <a:pt x="85770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98D53192-AB99-445D-AF07-D09E713EFCD3}"/>
                </a:ext>
              </a:extLst>
            </p:cNvPr>
            <p:cNvSpPr/>
            <p:nvPr/>
          </p:nvSpPr>
          <p:spPr>
            <a:xfrm>
              <a:off x="9568365" y="1816805"/>
              <a:ext cx="85491" cy="34809"/>
            </a:xfrm>
            <a:custGeom>
              <a:avLst/>
              <a:gdLst>
                <a:gd name="connsiteX0" fmla="*/ 0 w 85491"/>
                <a:gd name="connsiteY0" fmla="*/ 0 h 34809"/>
                <a:gd name="connsiteX1" fmla="*/ 85491 w 85491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0" y="0"/>
                  </a:moveTo>
                  <a:lnTo>
                    <a:pt x="85491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85D631E0-2CB3-4EED-94F5-12BCAFCE127E}"/>
                </a:ext>
              </a:extLst>
            </p:cNvPr>
            <p:cNvSpPr/>
            <p:nvPr/>
          </p:nvSpPr>
          <p:spPr>
            <a:xfrm>
              <a:off x="1818434" y="4744124"/>
              <a:ext cx="82706" cy="40100"/>
            </a:xfrm>
            <a:custGeom>
              <a:avLst/>
              <a:gdLst>
                <a:gd name="connsiteX0" fmla="*/ 0 w 82706"/>
                <a:gd name="connsiteY0" fmla="*/ 0 h 40100"/>
                <a:gd name="connsiteX1" fmla="*/ 82707 w 82706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40100">
                  <a:moveTo>
                    <a:pt x="0" y="0"/>
                  </a:moveTo>
                  <a:lnTo>
                    <a:pt x="8270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BD0F68D8-4BB1-412E-93B8-BB3E4DD78244}"/>
                </a:ext>
              </a:extLst>
            </p:cNvPr>
            <p:cNvSpPr/>
            <p:nvPr/>
          </p:nvSpPr>
          <p:spPr>
            <a:xfrm>
              <a:off x="2500139" y="3621316"/>
              <a:ext cx="85491" cy="34809"/>
            </a:xfrm>
            <a:custGeom>
              <a:avLst/>
              <a:gdLst>
                <a:gd name="connsiteX0" fmla="*/ 85492 w 85491"/>
                <a:gd name="connsiteY0" fmla="*/ 34809 h 34809"/>
                <a:gd name="connsiteX1" fmla="*/ 0 w 85491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4809">
                  <a:moveTo>
                    <a:pt x="85492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A44F6C76-0D53-469C-82C9-96A23E26F885}"/>
                </a:ext>
              </a:extLst>
            </p:cNvPr>
            <p:cNvSpPr/>
            <p:nvPr/>
          </p:nvSpPr>
          <p:spPr>
            <a:xfrm>
              <a:off x="2270119" y="3843260"/>
              <a:ext cx="85491" cy="37593"/>
            </a:xfrm>
            <a:custGeom>
              <a:avLst/>
              <a:gdLst>
                <a:gd name="connsiteX0" fmla="*/ 0 w 85491"/>
                <a:gd name="connsiteY0" fmla="*/ 0 h 37593"/>
                <a:gd name="connsiteX1" fmla="*/ 85492 w 8549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491" h="37593">
                  <a:moveTo>
                    <a:pt x="0" y="0"/>
                  </a:moveTo>
                  <a:lnTo>
                    <a:pt x="8549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C9C0B962-93E4-404D-8ACA-B004F9F31FE0}"/>
                </a:ext>
              </a:extLst>
            </p:cNvPr>
            <p:cNvSpPr/>
            <p:nvPr/>
          </p:nvSpPr>
          <p:spPr>
            <a:xfrm>
              <a:off x="2048175" y="4295224"/>
              <a:ext cx="82985" cy="32024"/>
            </a:xfrm>
            <a:custGeom>
              <a:avLst/>
              <a:gdLst>
                <a:gd name="connsiteX0" fmla="*/ 0 w 82985"/>
                <a:gd name="connsiteY0" fmla="*/ 0 h 32024"/>
                <a:gd name="connsiteX1" fmla="*/ 82985 w 82985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024">
                  <a:moveTo>
                    <a:pt x="0" y="0"/>
                  </a:moveTo>
                  <a:lnTo>
                    <a:pt x="82985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49D4E52D-7A91-4FAF-819E-4BF0D4C1FB80}"/>
                </a:ext>
              </a:extLst>
            </p:cNvPr>
            <p:cNvSpPr/>
            <p:nvPr/>
          </p:nvSpPr>
          <p:spPr>
            <a:xfrm>
              <a:off x="1139236" y="2723238"/>
              <a:ext cx="82985" cy="29239"/>
            </a:xfrm>
            <a:custGeom>
              <a:avLst/>
              <a:gdLst>
                <a:gd name="connsiteX0" fmla="*/ 0 w 82985"/>
                <a:gd name="connsiteY0" fmla="*/ 0 h 29239"/>
                <a:gd name="connsiteX1" fmla="*/ 82985 w 82985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29239">
                  <a:moveTo>
                    <a:pt x="0" y="0"/>
                  </a:moveTo>
                  <a:lnTo>
                    <a:pt x="82985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A384DDFD-A71E-4177-98DF-0C956DB067FE}"/>
                </a:ext>
              </a:extLst>
            </p:cNvPr>
            <p:cNvSpPr/>
            <p:nvPr/>
          </p:nvSpPr>
          <p:spPr>
            <a:xfrm>
              <a:off x="5700083" y="472333"/>
              <a:ext cx="82706" cy="29239"/>
            </a:xfrm>
            <a:custGeom>
              <a:avLst/>
              <a:gdLst>
                <a:gd name="connsiteX0" fmla="*/ 0 w 82706"/>
                <a:gd name="connsiteY0" fmla="*/ 0 h 29239"/>
                <a:gd name="connsiteX1" fmla="*/ 82707 w 8270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29239">
                  <a:moveTo>
                    <a:pt x="0" y="0"/>
                  </a:moveTo>
                  <a:lnTo>
                    <a:pt x="8270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AA6A750C-4329-4081-8243-7FD1F1612372}"/>
                </a:ext>
              </a:extLst>
            </p:cNvPr>
            <p:cNvSpPr/>
            <p:nvPr/>
          </p:nvSpPr>
          <p:spPr>
            <a:xfrm>
              <a:off x="9800890" y="2044040"/>
              <a:ext cx="82985" cy="32302"/>
            </a:xfrm>
            <a:custGeom>
              <a:avLst/>
              <a:gdLst>
                <a:gd name="connsiteX0" fmla="*/ 0 w 82985"/>
                <a:gd name="connsiteY0" fmla="*/ 0 h 32302"/>
                <a:gd name="connsiteX1" fmla="*/ 82985 w 82985"/>
                <a:gd name="connsiteY1" fmla="*/ 32303 h 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985" h="32302">
                  <a:moveTo>
                    <a:pt x="0" y="0"/>
                  </a:moveTo>
                  <a:lnTo>
                    <a:pt x="82985" y="3230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A6E14772-F8B1-4CE6-9CDE-D5A6DF26D741}"/>
                </a:ext>
              </a:extLst>
            </p:cNvPr>
            <p:cNvSpPr/>
            <p:nvPr/>
          </p:nvSpPr>
          <p:spPr>
            <a:xfrm>
              <a:off x="8662210" y="1370411"/>
              <a:ext cx="82706" cy="34809"/>
            </a:xfrm>
            <a:custGeom>
              <a:avLst/>
              <a:gdLst>
                <a:gd name="connsiteX0" fmla="*/ 0 w 82706"/>
                <a:gd name="connsiteY0" fmla="*/ 0 h 34809"/>
                <a:gd name="connsiteX1" fmla="*/ 82707 w 82706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06" h="34809">
                  <a:moveTo>
                    <a:pt x="0" y="0"/>
                  </a:moveTo>
                  <a:lnTo>
                    <a:pt x="8270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4CF3D45-5909-4D22-A3B0-15A28F84D0E1}"/>
                </a:ext>
              </a:extLst>
            </p:cNvPr>
            <p:cNvSpPr/>
            <p:nvPr/>
          </p:nvSpPr>
          <p:spPr>
            <a:xfrm>
              <a:off x="676691" y="2490712"/>
              <a:ext cx="80200" cy="42606"/>
            </a:xfrm>
            <a:custGeom>
              <a:avLst/>
              <a:gdLst>
                <a:gd name="connsiteX0" fmla="*/ 0 w 80200"/>
                <a:gd name="connsiteY0" fmla="*/ 0 h 42606"/>
                <a:gd name="connsiteX1" fmla="*/ 80200 w 80200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42606">
                  <a:moveTo>
                    <a:pt x="0" y="0"/>
                  </a:moveTo>
                  <a:lnTo>
                    <a:pt x="80200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C78EC2B8-A58B-467D-8D1E-A96CAB5DD8AD}"/>
                </a:ext>
              </a:extLst>
            </p:cNvPr>
            <p:cNvSpPr/>
            <p:nvPr/>
          </p:nvSpPr>
          <p:spPr>
            <a:xfrm>
              <a:off x="6606237" y="921233"/>
              <a:ext cx="80200" cy="34809"/>
            </a:xfrm>
            <a:custGeom>
              <a:avLst/>
              <a:gdLst>
                <a:gd name="connsiteX0" fmla="*/ 80201 w 80200"/>
                <a:gd name="connsiteY0" fmla="*/ 34809 h 34809"/>
                <a:gd name="connsiteX1" fmla="*/ 0 w 80200"/>
                <a:gd name="connsiteY1" fmla="*/ 0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4809">
                  <a:moveTo>
                    <a:pt x="80201" y="34809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121D0C9E-25CC-4ED7-B81B-92EE43BB66BB}"/>
                </a:ext>
              </a:extLst>
            </p:cNvPr>
            <p:cNvSpPr/>
            <p:nvPr/>
          </p:nvSpPr>
          <p:spPr>
            <a:xfrm>
              <a:off x="9798384" y="5420537"/>
              <a:ext cx="80200" cy="37593"/>
            </a:xfrm>
            <a:custGeom>
              <a:avLst/>
              <a:gdLst>
                <a:gd name="connsiteX0" fmla="*/ 0 w 80200"/>
                <a:gd name="connsiteY0" fmla="*/ 0 h 37593"/>
                <a:gd name="connsiteX1" fmla="*/ 80200 w 80200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593">
                  <a:moveTo>
                    <a:pt x="0" y="0"/>
                  </a:moveTo>
                  <a:lnTo>
                    <a:pt x="80200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25106E7D-009D-4495-B8F7-8F8415A5B752}"/>
                </a:ext>
              </a:extLst>
            </p:cNvPr>
            <p:cNvSpPr/>
            <p:nvPr/>
          </p:nvSpPr>
          <p:spPr>
            <a:xfrm>
              <a:off x="10030910" y="2268768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5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9542211A-ECC1-4616-BBAF-AD0529AF3776}"/>
                </a:ext>
              </a:extLst>
            </p:cNvPr>
            <p:cNvSpPr/>
            <p:nvPr/>
          </p:nvSpPr>
          <p:spPr>
            <a:xfrm>
              <a:off x="1585630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1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4638BA45-4BB8-41DC-822B-00BB0DC2220B}"/>
                </a:ext>
              </a:extLst>
            </p:cNvPr>
            <p:cNvSpPr/>
            <p:nvPr/>
          </p:nvSpPr>
          <p:spPr>
            <a:xfrm>
              <a:off x="10028125" y="5196087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0A68E744-EE11-4350-88C3-F71B1F671F15}"/>
                </a:ext>
              </a:extLst>
            </p:cNvPr>
            <p:cNvSpPr/>
            <p:nvPr/>
          </p:nvSpPr>
          <p:spPr>
            <a:xfrm>
              <a:off x="1361180" y="2945182"/>
              <a:ext cx="80200" cy="37315"/>
            </a:xfrm>
            <a:custGeom>
              <a:avLst/>
              <a:gdLst>
                <a:gd name="connsiteX0" fmla="*/ 0 w 80200"/>
                <a:gd name="connsiteY0" fmla="*/ 0 h 37315"/>
                <a:gd name="connsiteX1" fmla="*/ 80200 w 80200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200" h="37315">
                  <a:moveTo>
                    <a:pt x="0" y="0"/>
                  </a:moveTo>
                  <a:lnTo>
                    <a:pt x="80200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D95613B9-63DA-437A-9742-880EA39E5C4B}"/>
                </a:ext>
              </a:extLst>
            </p:cNvPr>
            <p:cNvSpPr/>
            <p:nvPr/>
          </p:nvSpPr>
          <p:spPr>
            <a:xfrm>
              <a:off x="5922027" y="46954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3AB0D695-EEE7-4397-BF4A-86DEE472F5BD}"/>
                </a:ext>
              </a:extLst>
            </p:cNvPr>
            <p:cNvSpPr/>
            <p:nvPr/>
          </p:nvSpPr>
          <p:spPr>
            <a:xfrm>
              <a:off x="7060707" y="1143177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DADC9361-E9F0-4E26-BA93-C0A0078AFD67}"/>
                </a:ext>
              </a:extLst>
            </p:cNvPr>
            <p:cNvSpPr/>
            <p:nvPr/>
          </p:nvSpPr>
          <p:spPr>
            <a:xfrm>
              <a:off x="10260651" y="2720453"/>
              <a:ext cx="77694" cy="34809"/>
            </a:xfrm>
            <a:custGeom>
              <a:avLst/>
              <a:gdLst>
                <a:gd name="connsiteX0" fmla="*/ 0 w 77694"/>
                <a:gd name="connsiteY0" fmla="*/ 0 h 34809"/>
                <a:gd name="connsiteX1" fmla="*/ 77694 w 77694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4809">
                  <a:moveTo>
                    <a:pt x="0" y="0"/>
                  </a:moveTo>
                  <a:lnTo>
                    <a:pt x="7769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229A553-BF41-4E53-A8CC-5ABFD7FDCA75}"/>
                </a:ext>
              </a:extLst>
            </p:cNvPr>
            <p:cNvSpPr/>
            <p:nvPr/>
          </p:nvSpPr>
          <p:spPr>
            <a:xfrm>
              <a:off x="2048175" y="407049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4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7A70EFA4-35F8-468E-87FB-30CAD87706A6}"/>
                </a:ext>
              </a:extLst>
            </p:cNvPr>
            <p:cNvSpPr/>
            <p:nvPr/>
          </p:nvSpPr>
          <p:spPr>
            <a:xfrm>
              <a:off x="8883876" y="1367905"/>
              <a:ext cx="77694" cy="40100"/>
            </a:xfrm>
            <a:custGeom>
              <a:avLst/>
              <a:gdLst>
                <a:gd name="connsiteX0" fmla="*/ 0 w 77694"/>
                <a:gd name="connsiteY0" fmla="*/ 0 h 40100"/>
                <a:gd name="connsiteX1" fmla="*/ 77695 w 7769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40100">
                  <a:moveTo>
                    <a:pt x="0" y="0"/>
                  </a:moveTo>
                  <a:lnTo>
                    <a:pt x="7769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EDD4D12-1A11-4985-88C5-E6F02157DDE9}"/>
                </a:ext>
              </a:extLst>
            </p:cNvPr>
            <p:cNvSpPr/>
            <p:nvPr/>
          </p:nvSpPr>
          <p:spPr>
            <a:xfrm>
              <a:off x="6151768" y="696783"/>
              <a:ext cx="77694" cy="32024"/>
            </a:xfrm>
            <a:custGeom>
              <a:avLst/>
              <a:gdLst>
                <a:gd name="connsiteX0" fmla="*/ 77694 w 77694"/>
                <a:gd name="connsiteY0" fmla="*/ 32025 h 32024"/>
                <a:gd name="connsiteX1" fmla="*/ 0 w 77694"/>
                <a:gd name="connsiteY1" fmla="*/ 0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694" h="32024">
                  <a:moveTo>
                    <a:pt x="77694" y="32025"/>
                  </a:moveTo>
                  <a:lnTo>
                    <a:pt x="0" y="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4F14D66C-B69B-4D4F-B20F-6CF8A0194012}"/>
                </a:ext>
              </a:extLst>
            </p:cNvPr>
            <p:cNvSpPr/>
            <p:nvPr/>
          </p:nvSpPr>
          <p:spPr>
            <a:xfrm>
              <a:off x="9568365" y="5645265"/>
              <a:ext cx="77415" cy="40100"/>
            </a:xfrm>
            <a:custGeom>
              <a:avLst/>
              <a:gdLst>
                <a:gd name="connsiteX0" fmla="*/ 0 w 77415"/>
                <a:gd name="connsiteY0" fmla="*/ 0 h 40100"/>
                <a:gd name="connsiteX1" fmla="*/ 77416 w 77415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415" h="40100">
                  <a:moveTo>
                    <a:pt x="0" y="0"/>
                  </a:moveTo>
                  <a:lnTo>
                    <a:pt x="77416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6CDA2980-6293-4125-88AE-F4FE6EF83221}"/>
                </a:ext>
              </a:extLst>
            </p:cNvPr>
            <p:cNvSpPr/>
            <p:nvPr/>
          </p:nvSpPr>
          <p:spPr>
            <a:xfrm>
              <a:off x="6376496" y="693998"/>
              <a:ext cx="74631" cy="42884"/>
            </a:xfrm>
            <a:custGeom>
              <a:avLst/>
              <a:gdLst>
                <a:gd name="connsiteX0" fmla="*/ 0 w 74631"/>
                <a:gd name="connsiteY0" fmla="*/ 0 h 42884"/>
                <a:gd name="connsiteX1" fmla="*/ 74631 w 74631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42884">
                  <a:moveTo>
                    <a:pt x="0" y="0"/>
                  </a:moveTo>
                  <a:lnTo>
                    <a:pt x="74631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F7157D5B-1C5E-4B7A-84C6-E6B8A9B247B1}"/>
                </a:ext>
              </a:extLst>
            </p:cNvPr>
            <p:cNvSpPr/>
            <p:nvPr/>
          </p:nvSpPr>
          <p:spPr>
            <a:xfrm>
              <a:off x="9346421" y="1595140"/>
              <a:ext cx="74909" cy="37315"/>
            </a:xfrm>
            <a:custGeom>
              <a:avLst/>
              <a:gdLst>
                <a:gd name="connsiteX0" fmla="*/ 0 w 74909"/>
                <a:gd name="connsiteY0" fmla="*/ 0 h 37315"/>
                <a:gd name="connsiteX1" fmla="*/ 74909 w 74909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7315">
                  <a:moveTo>
                    <a:pt x="0" y="0"/>
                  </a:moveTo>
                  <a:lnTo>
                    <a:pt x="74909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9A0FD0F0-1536-486B-BEB4-895772B55219}"/>
                </a:ext>
              </a:extLst>
            </p:cNvPr>
            <p:cNvSpPr/>
            <p:nvPr/>
          </p:nvSpPr>
          <p:spPr>
            <a:xfrm>
              <a:off x="10260651" y="4746908"/>
              <a:ext cx="74909" cy="34809"/>
            </a:xfrm>
            <a:custGeom>
              <a:avLst/>
              <a:gdLst>
                <a:gd name="connsiteX0" fmla="*/ 0 w 74909"/>
                <a:gd name="connsiteY0" fmla="*/ 0 h 34809"/>
                <a:gd name="connsiteX1" fmla="*/ 74909 w 74909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34809">
                  <a:moveTo>
                    <a:pt x="0" y="0"/>
                  </a:moveTo>
                  <a:lnTo>
                    <a:pt x="74909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BE83520-FFBF-4B42-AC27-A1782139A6F8}"/>
                </a:ext>
              </a:extLst>
            </p:cNvPr>
            <p:cNvSpPr/>
            <p:nvPr/>
          </p:nvSpPr>
          <p:spPr>
            <a:xfrm>
              <a:off x="1818434" y="4519674"/>
              <a:ext cx="74631" cy="37315"/>
            </a:xfrm>
            <a:custGeom>
              <a:avLst/>
              <a:gdLst>
                <a:gd name="connsiteX0" fmla="*/ 0 w 74631"/>
                <a:gd name="connsiteY0" fmla="*/ 0 h 37315"/>
                <a:gd name="connsiteX1" fmla="*/ 74631 w 7463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631" h="37315">
                  <a:moveTo>
                    <a:pt x="0" y="0"/>
                  </a:moveTo>
                  <a:lnTo>
                    <a:pt x="7463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D371872F-9CED-4C20-A2CF-8ED087C38E3B}"/>
                </a:ext>
              </a:extLst>
            </p:cNvPr>
            <p:cNvSpPr/>
            <p:nvPr/>
          </p:nvSpPr>
          <p:spPr>
            <a:xfrm>
              <a:off x="1585630" y="3169632"/>
              <a:ext cx="74909" cy="42884"/>
            </a:xfrm>
            <a:custGeom>
              <a:avLst/>
              <a:gdLst>
                <a:gd name="connsiteX0" fmla="*/ 0 w 74909"/>
                <a:gd name="connsiteY0" fmla="*/ 0 h 42884"/>
                <a:gd name="connsiteX1" fmla="*/ 74909 w 74909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884">
                  <a:moveTo>
                    <a:pt x="0" y="0"/>
                  </a:moveTo>
                  <a:lnTo>
                    <a:pt x="74909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4BFB0A0A-BBBA-4ED9-B2A0-F1AB13DD4775}"/>
                </a:ext>
              </a:extLst>
            </p:cNvPr>
            <p:cNvSpPr/>
            <p:nvPr/>
          </p:nvSpPr>
          <p:spPr>
            <a:xfrm>
              <a:off x="2270119" y="3618810"/>
              <a:ext cx="74909" cy="42606"/>
            </a:xfrm>
            <a:custGeom>
              <a:avLst/>
              <a:gdLst>
                <a:gd name="connsiteX0" fmla="*/ 0 w 74909"/>
                <a:gd name="connsiteY0" fmla="*/ 0 h 42606"/>
                <a:gd name="connsiteX1" fmla="*/ 74909 w 74909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909" h="42606">
                  <a:moveTo>
                    <a:pt x="0" y="0"/>
                  </a:moveTo>
                  <a:lnTo>
                    <a:pt x="74909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39C1B994-84BD-44EA-8FA2-27E76A1547F1}"/>
                </a:ext>
              </a:extLst>
            </p:cNvPr>
            <p:cNvSpPr/>
            <p:nvPr/>
          </p:nvSpPr>
          <p:spPr>
            <a:xfrm>
              <a:off x="10252854" y="4971358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9BAF845B-BBE8-49BD-AE4C-DC912E22F14C}"/>
                </a:ext>
              </a:extLst>
            </p:cNvPr>
            <p:cNvSpPr/>
            <p:nvPr/>
          </p:nvSpPr>
          <p:spPr>
            <a:xfrm>
              <a:off x="901420" y="2720453"/>
              <a:ext cx="72124" cy="40100"/>
            </a:xfrm>
            <a:custGeom>
              <a:avLst/>
              <a:gdLst>
                <a:gd name="connsiteX0" fmla="*/ 0 w 72124"/>
                <a:gd name="connsiteY0" fmla="*/ 0 h 40100"/>
                <a:gd name="connsiteX1" fmla="*/ 72125 w 7212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24" h="40100">
                  <a:moveTo>
                    <a:pt x="0" y="0"/>
                  </a:moveTo>
                  <a:lnTo>
                    <a:pt x="72125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20F95360-2695-4D25-8BAB-1360A2CF018C}"/>
                </a:ext>
              </a:extLst>
            </p:cNvPr>
            <p:cNvSpPr/>
            <p:nvPr/>
          </p:nvSpPr>
          <p:spPr>
            <a:xfrm>
              <a:off x="10260651" y="2498509"/>
              <a:ext cx="72403" cy="34809"/>
            </a:xfrm>
            <a:custGeom>
              <a:avLst/>
              <a:gdLst>
                <a:gd name="connsiteX0" fmla="*/ 0 w 72403"/>
                <a:gd name="connsiteY0" fmla="*/ 0 h 34809"/>
                <a:gd name="connsiteX1" fmla="*/ 72404 w 72403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403" h="34809">
                  <a:moveTo>
                    <a:pt x="0" y="0"/>
                  </a:moveTo>
                  <a:lnTo>
                    <a:pt x="72404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5BC39419-06DD-4345-9AD2-F3CC984ECABD}"/>
                </a:ext>
              </a:extLst>
            </p:cNvPr>
            <p:cNvSpPr/>
            <p:nvPr/>
          </p:nvSpPr>
          <p:spPr>
            <a:xfrm>
              <a:off x="2048175" y="3396866"/>
              <a:ext cx="69618" cy="37315"/>
            </a:xfrm>
            <a:custGeom>
              <a:avLst/>
              <a:gdLst>
                <a:gd name="connsiteX0" fmla="*/ 0 w 69618"/>
                <a:gd name="connsiteY0" fmla="*/ 0 h 37315"/>
                <a:gd name="connsiteX1" fmla="*/ 69618 w 6961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18" h="37315">
                  <a:moveTo>
                    <a:pt x="0" y="0"/>
                  </a:moveTo>
                  <a:lnTo>
                    <a:pt x="6961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CB167115-04C5-473A-B6C8-02A62B8E9B07}"/>
                </a:ext>
              </a:extLst>
            </p:cNvPr>
            <p:cNvSpPr/>
            <p:nvPr/>
          </p:nvSpPr>
          <p:spPr>
            <a:xfrm>
              <a:off x="9800890" y="1819590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CEDA6B9D-6DA7-4F3A-B220-558E5F4B409F}"/>
                </a:ext>
              </a:extLst>
            </p:cNvPr>
            <p:cNvSpPr/>
            <p:nvPr/>
          </p:nvSpPr>
          <p:spPr>
            <a:xfrm>
              <a:off x="1593706" y="497414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B96498F6-B41F-4BF6-A303-BB34DC2F949C}"/>
                </a:ext>
              </a:extLst>
            </p:cNvPr>
            <p:cNvSpPr/>
            <p:nvPr/>
          </p:nvSpPr>
          <p:spPr>
            <a:xfrm>
              <a:off x="9116680" y="1370411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DE52072F-8CF7-448E-A542-50E8B0EAFC08}"/>
                </a:ext>
              </a:extLst>
            </p:cNvPr>
            <p:cNvSpPr/>
            <p:nvPr/>
          </p:nvSpPr>
          <p:spPr>
            <a:xfrm>
              <a:off x="10028125" y="2041534"/>
              <a:ext cx="66833" cy="45391"/>
            </a:xfrm>
            <a:custGeom>
              <a:avLst/>
              <a:gdLst>
                <a:gd name="connsiteX0" fmla="*/ 0 w 66833"/>
                <a:gd name="connsiteY0" fmla="*/ 0 h 45391"/>
                <a:gd name="connsiteX1" fmla="*/ 66834 w 6683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5391">
                  <a:moveTo>
                    <a:pt x="0" y="0"/>
                  </a:moveTo>
                  <a:lnTo>
                    <a:pt x="6683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92EDB09F-45ED-43D5-B6B0-9171AF2D4246}"/>
                </a:ext>
              </a:extLst>
            </p:cNvPr>
            <p:cNvSpPr/>
            <p:nvPr/>
          </p:nvSpPr>
          <p:spPr>
            <a:xfrm>
              <a:off x="1818434" y="4295224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594FFFCC-9EF1-4EF1-98CF-C1EDCAA7F2BC}"/>
                </a:ext>
              </a:extLst>
            </p:cNvPr>
            <p:cNvSpPr/>
            <p:nvPr/>
          </p:nvSpPr>
          <p:spPr>
            <a:xfrm>
              <a:off x="7293232" y="1145961"/>
              <a:ext cx="66833" cy="37315"/>
            </a:xfrm>
            <a:custGeom>
              <a:avLst/>
              <a:gdLst>
                <a:gd name="connsiteX0" fmla="*/ 0 w 66833"/>
                <a:gd name="connsiteY0" fmla="*/ 0 h 37315"/>
                <a:gd name="connsiteX1" fmla="*/ 66834 w 66833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37315">
                  <a:moveTo>
                    <a:pt x="0" y="0"/>
                  </a:moveTo>
                  <a:lnTo>
                    <a:pt x="6683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11B20EED-FA11-41BA-803A-217383AD3917}"/>
                </a:ext>
              </a:extLst>
            </p:cNvPr>
            <p:cNvSpPr/>
            <p:nvPr/>
          </p:nvSpPr>
          <p:spPr>
            <a:xfrm>
              <a:off x="6838763" y="921233"/>
              <a:ext cx="66833" cy="40100"/>
            </a:xfrm>
            <a:custGeom>
              <a:avLst/>
              <a:gdLst>
                <a:gd name="connsiteX0" fmla="*/ 0 w 66833"/>
                <a:gd name="connsiteY0" fmla="*/ 0 h 40100"/>
                <a:gd name="connsiteX1" fmla="*/ 66834 w 66833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3" h="40100">
                  <a:moveTo>
                    <a:pt x="0" y="0"/>
                  </a:moveTo>
                  <a:lnTo>
                    <a:pt x="6683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5E52BFEE-6246-428B-96C2-8B3DBC32AB9D}"/>
                </a:ext>
              </a:extLst>
            </p:cNvPr>
            <p:cNvSpPr/>
            <p:nvPr/>
          </p:nvSpPr>
          <p:spPr>
            <a:xfrm>
              <a:off x="8432191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8A738797-3BF7-402F-A953-D3F1161D5B2A}"/>
                </a:ext>
              </a:extLst>
            </p:cNvPr>
            <p:cNvSpPr/>
            <p:nvPr/>
          </p:nvSpPr>
          <p:spPr>
            <a:xfrm>
              <a:off x="9573656" y="1592355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0E4236DE-E99A-4EA7-B799-BEC6A71F16AA}"/>
                </a:ext>
              </a:extLst>
            </p:cNvPr>
            <p:cNvSpPr/>
            <p:nvPr/>
          </p:nvSpPr>
          <p:spPr>
            <a:xfrm>
              <a:off x="9800890" y="5647772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D1473957-6384-4B7D-93DF-7D6A8D7C4C49}"/>
                </a:ext>
              </a:extLst>
            </p:cNvPr>
            <p:cNvSpPr/>
            <p:nvPr/>
          </p:nvSpPr>
          <p:spPr>
            <a:xfrm>
              <a:off x="1363965" y="5647772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731B3C2B-DF7C-472B-BDB0-10B0F58D8DA8}"/>
                </a:ext>
              </a:extLst>
            </p:cNvPr>
            <p:cNvSpPr/>
            <p:nvPr/>
          </p:nvSpPr>
          <p:spPr>
            <a:xfrm>
              <a:off x="7747702" y="1145961"/>
              <a:ext cx="61542" cy="45391"/>
            </a:xfrm>
            <a:custGeom>
              <a:avLst/>
              <a:gdLst>
                <a:gd name="connsiteX0" fmla="*/ 0 w 61542"/>
                <a:gd name="connsiteY0" fmla="*/ 0 h 45391"/>
                <a:gd name="connsiteX1" fmla="*/ 61543 w 6154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5391">
                  <a:moveTo>
                    <a:pt x="0" y="0"/>
                  </a:moveTo>
                  <a:lnTo>
                    <a:pt x="6154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8B453D3E-57ED-41F4-9CB2-9B1BDF89127E}"/>
                </a:ext>
              </a:extLst>
            </p:cNvPr>
            <p:cNvSpPr/>
            <p:nvPr/>
          </p:nvSpPr>
          <p:spPr>
            <a:xfrm>
              <a:off x="8207741" y="1145961"/>
              <a:ext cx="61264" cy="45391"/>
            </a:xfrm>
            <a:custGeom>
              <a:avLst/>
              <a:gdLst>
                <a:gd name="connsiteX0" fmla="*/ 0 w 61264"/>
                <a:gd name="connsiteY0" fmla="*/ 0 h 45391"/>
                <a:gd name="connsiteX1" fmla="*/ 61264 w 61264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5391">
                  <a:moveTo>
                    <a:pt x="0" y="0"/>
                  </a:moveTo>
                  <a:lnTo>
                    <a:pt x="61264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9EECB5A1-9CE5-4686-9DC1-4C04A58B6150}"/>
                </a:ext>
              </a:extLst>
            </p:cNvPr>
            <p:cNvSpPr/>
            <p:nvPr/>
          </p:nvSpPr>
          <p:spPr>
            <a:xfrm>
              <a:off x="1131161" y="2945182"/>
              <a:ext cx="64327" cy="42606"/>
            </a:xfrm>
            <a:custGeom>
              <a:avLst/>
              <a:gdLst>
                <a:gd name="connsiteX0" fmla="*/ 0 w 64327"/>
                <a:gd name="connsiteY0" fmla="*/ 0 h 42606"/>
                <a:gd name="connsiteX1" fmla="*/ 64327 w 6432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327" h="42606">
                  <a:moveTo>
                    <a:pt x="0" y="0"/>
                  </a:moveTo>
                  <a:lnTo>
                    <a:pt x="64327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A6055219-30CA-4266-8EB8-65D9D01FF111}"/>
                </a:ext>
              </a:extLst>
            </p:cNvPr>
            <p:cNvSpPr/>
            <p:nvPr/>
          </p:nvSpPr>
          <p:spPr>
            <a:xfrm>
              <a:off x="2048175" y="3846045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47D5883B-FA78-4543-9752-2F635A1D75B7}"/>
                </a:ext>
              </a:extLst>
            </p:cNvPr>
            <p:cNvSpPr/>
            <p:nvPr/>
          </p:nvSpPr>
          <p:spPr>
            <a:xfrm>
              <a:off x="1591200" y="4516889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8732AC2-0A41-4E5D-989F-C2FA558E335A}"/>
                </a:ext>
              </a:extLst>
            </p:cNvPr>
            <p:cNvSpPr/>
            <p:nvPr/>
          </p:nvSpPr>
          <p:spPr>
            <a:xfrm>
              <a:off x="1363965" y="5423322"/>
              <a:ext cx="61264" cy="40100"/>
            </a:xfrm>
            <a:custGeom>
              <a:avLst/>
              <a:gdLst>
                <a:gd name="connsiteX0" fmla="*/ 0 w 61264"/>
                <a:gd name="connsiteY0" fmla="*/ 0 h 40100"/>
                <a:gd name="connsiteX1" fmla="*/ 61264 w 61264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264" h="40100">
                  <a:moveTo>
                    <a:pt x="0" y="0"/>
                  </a:moveTo>
                  <a:lnTo>
                    <a:pt x="61264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3D4F1CF9-4FF1-41F5-9EFC-53A9314874A6}"/>
                </a:ext>
              </a:extLst>
            </p:cNvPr>
            <p:cNvSpPr/>
            <p:nvPr/>
          </p:nvSpPr>
          <p:spPr>
            <a:xfrm>
              <a:off x="6154552" y="47233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0DBBE023-4418-4C69-BC23-F5BC0280C04B}"/>
                </a:ext>
              </a:extLst>
            </p:cNvPr>
            <p:cNvSpPr/>
            <p:nvPr/>
          </p:nvSpPr>
          <p:spPr>
            <a:xfrm>
              <a:off x="446950" y="2496003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E5C34DDB-0849-44CD-9F78-37E83413FA33}"/>
                </a:ext>
              </a:extLst>
            </p:cNvPr>
            <p:cNvSpPr/>
            <p:nvPr/>
          </p:nvSpPr>
          <p:spPr>
            <a:xfrm>
              <a:off x="7977721" y="1145961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2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8F92CED4-F1BA-4AAB-B1D1-E5AFFADC36BF}"/>
                </a:ext>
              </a:extLst>
            </p:cNvPr>
            <p:cNvSpPr/>
            <p:nvPr/>
          </p:nvSpPr>
          <p:spPr>
            <a:xfrm>
              <a:off x="10030910" y="5423322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5FFC9859-F369-4EE2-8E4F-2CE563A33F89}"/>
                </a:ext>
              </a:extLst>
            </p:cNvPr>
            <p:cNvSpPr/>
            <p:nvPr/>
          </p:nvSpPr>
          <p:spPr>
            <a:xfrm>
              <a:off x="10260651" y="2274059"/>
              <a:ext cx="61542" cy="40100"/>
            </a:xfrm>
            <a:custGeom>
              <a:avLst/>
              <a:gdLst>
                <a:gd name="connsiteX0" fmla="*/ 0 w 61542"/>
                <a:gd name="connsiteY0" fmla="*/ 0 h 40100"/>
                <a:gd name="connsiteX1" fmla="*/ 61543 w 6154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1542" h="40100">
                  <a:moveTo>
                    <a:pt x="0" y="0"/>
                  </a:moveTo>
                  <a:lnTo>
                    <a:pt x="61543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36D9B745-0116-4409-B777-F774B553196F}"/>
                </a:ext>
              </a:extLst>
            </p:cNvPr>
            <p:cNvSpPr/>
            <p:nvPr/>
          </p:nvSpPr>
          <p:spPr>
            <a:xfrm>
              <a:off x="6609022" y="696783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7115ABE6-D542-4819-82E1-DBB3BBB3E5AC}"/>
                </a:ext>
              </a:extLst>
            </p:cNvPr>
            <p:cNvSpPr/>
            <p:nvPr/>
          </p:nvSpPr>
          <p:spPr>
            <a:xfrm>
              <a:off x="7523252" y="1145961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7000BFEF-40B1-40E4-A2CD-3D0F0FFDAC45}"/>
                </a:ext>
              </a:extLst>
            </p:cNvPr>
            <p:cNvSpPr/>
            <p:nvPr/>
          </p:nvSpPr>
          <p:spPr>
            <a:xfrm>
              <a:off x="8662210" y="1145961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C6357180-D5A0-4BC5-91D1-E0AEF5B67E1E}"/>
                </a:ext>
              </a:extLst>
            </p:cNvPr>
            <p:cNvSpPr/>
            <p:nvPr/>
          </p:nvSpPr>
          <p:spPr>
            <a:xfrm>
              <a:off x="10252854" y="5196087"/>
              <a:ext cx="58758" cy="42606"/>
            </a:xfrm>
            <a:custGeom>
              <a:avLst/>
              <a:gdLst>
                <a:gd name="connsiteX0" fmla="*/ 0 w 58758"/>
                <a:gd name="connsiteY0" fmla="*/ 0 h 42606"/>
                <a:gd name="connsiteX1" fmla="*/ 58758 w 58758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606">
                  <a:moveTo>
                    <a:pt x="0" y="0"/>
                  </a:moveTo>
                  <a:lnTo>
                    <a:pt x="5875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34AA11AE-02A4-4D50-BFAC-F609D208666E}"/>
                </a:ext>
              </a:extLst>
            </p:cNvPr>
            <p:cNvSpPr/>
            <p:nvPr/>
          </p:nvSpPr>
          <p:spPr>
            <a:xfrm>
              <a:off x="1818434" y="4070495"/>
              <a:ext cx="58758" cy="42884"/>
            </a:xfrm>
            <a:custGeom>
              <a:avLst/>
              <a:gdLst>
                <a:gd name="connsiteX0" fmla="*/ 0 w 58758"/>
                <a:gd name="connsiteY0" fmla="*/ 0 h 42884"/>
                <a:gd name="connsiteX1" fmla="*/ 58758 w 58758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42884">
                  <a:moveTo>
                    <a:pt x="0" y="0"/>
                  </a:moveTo>
                  <a:lnTo>
                    <a:pt x="58758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54E8C3B2-5E64-4030-8E78-820EFA4E6D87}"/>
                </a:ext>
              </a:extLst>
            </p:cNvPr>
            <p:cNvSpPr/>
            <p:nvPr/>
          </p:nvSpPr>
          <p:spPr>
            <a:xfrm>
              <a:off x="1363965" y="5198593"/>
              <a:ext cx="55973" cy="45669"/>
            </a:xfrm>
            <a:custGeom>
              <a:avLst/>
              <a:gdLst>
                <a:gd name="connsiteX0" fmla="*/ 0 w 55973"/>
                <a:gd name="connsiteY0" fmla="*/ 0 h 45669"/>
                <a:gd name="connsiteX1" fmla="*/ 55973 w 55973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669">
                  <a:moveTo>
                    <a:pt x="0" y="0"/>
                  </a:moveTo>
                  <a:lnTo>
                    <a:pt x="55973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20CC7F1E-EBC4-41C9-963F-CC232E71DC4C}"/>
                </a:ext>
              </a:extLst>
            </p:cNvPr>
            <p:cNvSpPr/>
            <p:nvPr/>
          </p:nvSpPr>
          <p:spPr>
            <a:xfrm>
              <a:off x="1818434" y="3396866"/>
              <a:ext cx="55973" cy="45391"/>
            </a:xfrm>
            <a:custGeom>
              <a:avLst/>
              <a:gdLst>
                <a:gd name="connsiteX0" fmla="*/ 0 w 55973"/>
                <a:gd name="connsiteY0" fmla="*/ 0 h 45391"/>
                <a:gd name="connsiteX1" fmla="*/ 55973 w 55973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73" h="45391">
                  <a:moveTo>
                    <a:pt x="0" y="0"/>
                  </a:moveTo>
                  <a:lnTo>
                    <a:pt x="55973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F792E1D9-CF5A-40CB-A136-645C53EA4588}"/>
                </a:ext>
              </a:extLst>
            </p:cNvPr>
            <p:cNvSpPr/>
            <p:nvPr/>
          </p:nvSpPr>
          <p:spPr>
            <a:xfrm>
              <a:off x="1593706" y="4749693"/>
              <a:ext cx="58758" cy="37315"/>
            </a:xfrm>
            <a:custGeom>
              <a:avLst/>
              <a:gdLst>
                <a:gd name="connsiteX0" fmla="*/ 0 w 58758"/>
                <a:gd name="connsiteY0" fmla="*/ 0 h 37315"/>
                <a:gd name="connsiteX1" fmla="*/ 58758 w 58758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758" h="37315">
                  <a:moveTo>
                    <a:pt x="0" y="0"/>
                  </a:moveTo>
                  <a:lnTo>
                    <a:pt x="58758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F9EA8753-0300-4DAF-BAD4-2D7C7EE07103}"/>
                </a:ext>
              </a:extLst>
            </p:cNvPr>
            <p:cNvSpPr/>
            <p:nvPr/>
          </p:nvSpPr>
          <p:spPr>
            <a:xfrm>
              <a:off x="10028125" y="1816805"/>
              <a:ext cx="53467" cy="48175"/>
            </a:xfrm>
            <a:custGeom>
              <a:avLst/>
              <a:gdLst>
                <a:gd name="connsiteX0" fmla="*/ 0 w 53467"/>
                <a:gd name="connsiteY0" fmla="*/ 0 h 48175"/>
                <a:gd name="connsiteX1" fmla="*/ 53467 w 53467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7" h="48175">
                  <a:moveTo>
                    <a:pt x="0" y="0"/>
                  </a:moveTo>
                  <a:lnTo>
                    <a:pt x="5346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9175E7EC-4703-4D78-9556-27B0A2EC0C0E}"/>
                </a:ext>
              </a:extLst>
            </p:cNvPr>
            <p:cNvSpPr/>
            <p:nvPr/>
          </p:nvSpPr>
          <p:spPr>
            <a:xfrm>
              <a:off x="2048175" y="3621316"/>
              <a:ext cx="56251" cy="45669"/>
            </a:xfrm>
            <a:custGeom>
              <a:avLst/>
              <a:gdLst>
                <a:gd name="connsiteX0" fmla="*/ 0 w 56251"/>
                <a:gd name="connsiteY0" fmla="*/ 0 h 45669"/>
                <a:gd name="connsiteX1" fmla="*/ 56252 w 56251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669">
                  <a:moveTo>
                    <a:pt x="0" y="0"/>
                  </a:moveTo>
                  <a:lnTo>
                    <a:pt x="56252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E1268299-6BD6-4298-80C9-84BA0B157F2B}"/>
                </a:ext>
              </a:extLst>
            </p:cNvPr>
            <p:cNvSpPr/>
            <p:nvPr/>
          </p:nvSpPr>
          <p:spPr>
            <a:xfrm>
              <a:off x="7060707" y="918726"/>
              <a:ext cx="56251" cy="45391"/>
            </a:xfrm>
            <a:custGeom>
              <a:avLst/>
              <a:gdLst>
                <a:gd name="connsiteX0" fmla="*/ 0 w 56251"/>
                <a:gd name="connsiteY0" fmla="*/ 0 h 45391"/>
                <a:gd name="connsiteX1" fmla="*/ 56252 w 56251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51" h="45391">
                  <a:moveTo>
                    <a:pt x="0" y="0"/>
                  </a:moveTo>
                  <a:lnTo>
                    <a:pt x="5625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1E1EFC98-3DA1-4417-AA4E-E5857D578D01}"/>
                </a:ext>
              </a:extLst>
            </p:cNvPr>
            <p:cNvSpPr/>
            <p:nvPr/>
          </p:nvSpPr>
          <p:spPr>
            <a:xfrm>
              <a:off x="1591200" y="4292439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3C7CA641-17D8-4639-BE9D-EE815BEFC395}"/>
                </a:ext>
              </a:extLst>
            </p:cNvPr>
            <p:cNvSpPr/>
            <p:nvPr/>
          </p:nvSpPr>
          <p:spPr>
            <a:xfrm>
              <a:off x="679476" y="272323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C93A4890-1482-41D4-B39F-5D450EBED3F5}"/>
                </a:ext>
              </a:extLst>
            </p:cNvPr>
            <p:cNvSpPr/>
            <p:nvPr/>
          </p:nvSpPr>
          <p:spPr>
            <a:xfrm>
              <a:off x="8889445" y="1143177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DEC3D557-1B32-4932-B075-A2F0FFC495FC}"/>
                </a:ext>
              </a:extLst>
            </p:cNvPr>
            <p:cNvSpPr/>
            <p:nvPr/>
          </p:nvSpPr>
          <p:spPr>
            <a:xfrm>
              <a:off x="1591200" y="4067989"/>
              <a:ext cx="47897" cy="47897"/>
            </a:xfrm>
            <a:custGeom>
              <a:avLst/>
              <a:gdLst>
                <a:gd name="connsiteX0" fmla="*/ 0 w 47897"/>
                <a:gd name="connsiteY0" fmla="*/ 0 h 47897"/>
                <a:gd name="connsiteX1" fmla="*/ 47897 w 47897"/>
                <a:gd name="connsiteY1" fmla="*/ 47898 h 4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7897">
                  <a:moveTo>
                    <a:pt x="0" y="0"/>
                  </a:moveTo>
                  <a:lnTo>
                    <a:pt x="47897" y="4789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BD800EC0-C693-4F8E-9818-7493423C289F}"/>
                </a:ext>
              </a:extLst>
            </p:cNvPr>
            <p:cNvSpPr/>
            <p:nvPr/>
          </p:nvSpPr>
          <p:spPr>
            <a:xfrm>
              <a:off x="9346421" y="1370411"/>
              <a:ext cx="53466" cy="42884"/>
            </a:xfrm>
            <a:custGeom>
              <a:avLst/>
              <a:gdLst>
                <a:gd name="connsiteX0" fmla="*/ 0 w 53466"/>
                <a:gd name="connsiteY0" fmla="*/ 0 h 42884"/>
                <a:gd name="connsiteX1" fmla="*/ 53467 w 5346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466" h="42884">
                  <a:moveTo>
                    <a:pt x="0" y="0"/>
                  </a:moveTo>
                  <a:lnTo>
                    <a:pt x="5346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D74AB1B1-F138-41E5-B107-893150EBFE1A}"/>
                </a:ext>
              </a:extLst>
            </p:cNvPr>
            <p:cNvSpPr/>
            <p:nvPr/>
          </p:nvSpPr>
          <p:spPr>
            <a:xfrm>
              <a:off x="1131161" y="5196087"/>
              <a:ext cx="42884" cy="48175"/>
            </a:xfrm>
            <a:custGeom>
              <a:avLst/>
              <a:gdLst>
                <a:gd name="connsiteX0" fmla="*/ 0 w 42884"/>
                <a:gd name="connsiteY0" fmla="*/ 0 h 48175"/>
                <a:gd name="connsiteX1" fmla="*/ 42885 w 42884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8175">
                  <a:moveTo>
                    <a:pt x="0" y="0"/>
                  </a:moveTo>
                  <a:lnTo>
                    <a:pt x="42885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5237128-DD39-4021-A690-BCFD476F8272}"/>
                </a:ext>
              </a:extLst>
            </p:cNvPr>
            <p:cNvSpPr/>
            <p:nvPr/>
          </p:nvSpPr>
          <p:spPr>
            <a:xfrm>
              <a:off x="1363965" y="497414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5" name="Freeform: Shape 1494">
              <a:extLst>
                <a:ext uri="{FF2B5EF4-FFF2-40B4-BE49-F238E27FC236}">
                  <a16:creationId xmlns:a16="http://schemas.microsoft.com/office/drawing/2014/main" id="{BE55F0E2-1217-4149-85B9-1206C3A0F9C5}"/>
                </a:ext>
              </a:extLst>
            </p:cNvPr>
            <p:cNvSpPr/>
            <p:nvPr/>
          </p:nvSpPr>
          <p:spPr>
            <a:xfrm>
              <a:off x="10252854" y="2046825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6" name="Freeform: Shape 1495">
              <a:extLst>
                <a:ext uri="{FF2B5EF4-FFF2-40B4-BE49-F238E27FC236}">
                  <a16:creationId xmlns:a16="http://schemas.microsoft.com/office/drawing/2014/main" id="{625D85ED-D0EA-47BC-9CDA-071262CE061D}"/>
                </a:ext>
              </a:extLst>
            </p:cNvPr>
            <p:cNvSpPr/>
            <p:nvPr/>
          </p:nvSpPr>
          <p:spPr>
            <a:xfrm>
              <a:off x="1363965" y="4749693"/>
              <a:ext cx="50682" cy="40100"/>
            </a:xfrm>
            <a:custGeom>
              <a:avLst/>
              <a:gdLst>
                <a:gd name="connsiteX0" fmla="*/ 0 w 50682"/>
                <a:gd name="connsiteY0" fmla="*/ 0 h 40100"/>
                <a:gd name="connsiteX1" fmla="*/ 50682 w 50682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0100">
                  <a:moveTo>
                    <a:pt x="0" y="0"/>
                  </a:moveTo>
                  <a:lnTo>
                    <a:pt x="50682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C2007131-381A-48E0-9497-7AF9239A1DED}"/>
                </a:ext>
              </a:extLst>
            </p:cNvPr>
            <p:cNvSpPr/>
            <p:nvPr/>
          </p:nvSpPr>
          <p:spPr>
            <a:xfrm>
              <a:off x="6376496" y="469548"/>
              <a:ext cx="50682" cy="45391"/>
            </a:xfrm>
            <a:custGeom>
              <a:avLst/>
              <a:gdLst>
                <a:gd name="connsiteX0" fmla="*/ 0 w 50682"/>
                <a:gd name="connsiteY0" fmla="*/ 0 h 45391"/>
                <a:gd name="connsiteX1" fmla="*/ 50682 w 50682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682" h="45391">
                  <a:moveTo>
                    <a:pt x="0" y="0"/>
                  </a:moveTo>
                  <a:lnTo>
                    <a:pt x="50682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8" name="Freeform: Shape 1497">
              <a:extLst>
                <a:ext uri="{FF2B5EF4-FFF2-40B4-BE49-F238E27FC236}">
                  <a16:creationId xmlns:a16="http://schemas.microsoft.com/office/drawing/2014/main" id="{F4AF19EF-18B3-4728-B97A-37F4C0F8A142}"/>
                </a:ext>
              </a:extLst>
            </p:cNvPr>
            <p:cNvSpPr/>
            <p:nvPr/>
          </p:nvSpPr>
          <p:spPr>
            <a:xfrm>
              <a:off x="9343915" y="1143177"/>
              <a:ext cx="37315" cy="48175"/>
            </a:xfrm>
            <a:custGeom>
              <a:avLst/>
              <a:gdLst>
                <a:gd name="connsiteX0" fmla="*/ 0 w 37315"/>
                <a:gd name="connsiteY0" fmla="*/ 0 h 48175"/>
                <a:gd name="connsiteX1" fmla="*/ 37316 w 37315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15" h="48175">
                  <a:moveTo>
                    <a:pt x="0" y="0"/>
                  </a:moveTo>
                  <a:lnTo>
                    <a:pt x="37316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CB3F7F72-B155-4BB8-8783-8E79F4C36463}"/>
                </a:ext>
              </a:extLst>
            </p:cNvPr>
            <p:cNvSpPr/>
            <p:nvPr/>
          </p:nvSpPr>
          <p:spPr>
            <a:xfrm>
              <a:off x="1131161" y="4971358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0" name="Freeform: Shape 1499">
              <a:extLst>
                <a:ext uri="{FF2B5EF4-FFF2-40B4-BE49-F238E27FC236}">
                  <a16:creationId xmlns:a16="http://schemas.microsoft.com/office/drawing/2014/main" id="{1430D7CA-63DF-46C0-877F-207553C999E6}"/>
                </a:ext>
              </a:extLst>
            </p:cNvPr>
            <p:cNvSpPr/>
            <p:nvPr/>
          </p:nvSpPr>
          <p:spPr>
            <a:xfrm>
              <a:off x="446950" y="2720453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7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7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B426D038-3104-4221-947D-456AEF2C777A}"/>
                </a:ext>
              </a:extLst>
            </p:cNvPr>
            <p:cNvSpPr/>
            <p:nvPr/>
          </p:nvSpPr>
          <p:spPr>
            <a:xfrm>
              <a:off x="1818434" y="3846045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2" name="Freeform: Shape 1501">
              <a:extLst>
                <a:ext uri="{FF2B5EF4-FFF2-40B4-BE49-F238E27FC236}">
                  <a16:creationId xmlns:a16="http://schemas.microsoft.com/office/drawing/2014/main" id="{4F570967-0C8A-44BD-B708-263804BE4948}"/>
                </a:ext>
              </a:extLst>
            </p:cNvPr>
            <p:cNvSpPr/>
            <p:nvPr/>
          </p:nvSpPr>
          <p:spPr>
            <a:xfrm>
              <a:off x="909495" y="2947688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3" name="Freeform: Shape 1502">
              <a:extLst>
                <a:ext uri="{FF2B5EF4-FFF2-40B4-BE49-F238E27FC236}">
                  <a16:creationId xmlns:a16="http://schemas.microsoft.com/office/drawing/2014/main" id="{34F6117B-D411-4080-85F0-DDB9ADA9C005}"/>
                </a:ext>
              </a:extLst>
            </p:cNvPr>
            <p:cNvSpPr/>
            <p:nvPr/>
          </p:nvSpPr>
          <p:spPr>
            <a:xfrm>
              <a:off x="1363965" y="3172416"/>
              <a:ext cx="47897" cy="42606"/>
            </a:xfrm>
            <a:custGeom>
              <a:avLst/>
              <a:gdLst>
                <a:gd name="connsiteX0" fmla="*/ 0 w 47897"/>
                <a:gd name="connsiteY0" fmla="*/ 0 h 42606"/>
                <a:gd name="connsiteX1" fmla="*/ 47898 w 47897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97" h="42606">
                  <a:moveTo>
                    <a:pt x="0" y="0"/>
                  </a:moveTo>
                  <a:lnTo>
                    <a:pt x="47898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E9A274-5189-488B-B1C7-A44D4BE3F959}"/>
                </a:ext>
              </a:extLst>
            </p:cNvPr>
            <p:cNvSpPr/>
            <p:nvPr/>
          </p:nvSpPr>
          <p:spPr>
            <a:xfrm>
              <a:off x="10258145" y="5420537"/>
              <a:ext cx="42606" cy="48175"/>
            </a:xfrm>
            <a:custGeom>
              <a:avLst/>
              <a:gdLst>
                <a:gd name="connsiteX0" fmla="*/ 0 w 42606"/>
                <a:gd name="connsiteY0" fmla="*/ 0 h 48175"/>
                <a:gd name="connsiteX1" fmla="*/ 42607 w 42606"/>
                <a:gd name="connsiteY1" fmla="*/ 48176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8175">
                  <a:moveTo>
                    <a:pt x="0" y="0"/>
                  </a:moveTo>
                  <a:lnTo>
                    <a:pt x="42607" y="481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C5F24CAB-D80B-4041-84F1-A70382649ED2}"/>
                </a:ext>
              </a:extLst>
            </p:cNvPr>
            <p:cNvSpPr/>
            <p:nvPr/>
          </p:nvSpPr>
          <p:spPr>
            <a:xfrm>
              <a:off x="9800890" y="1595140"/>
              <a:ext cx="48175" cy="42606"/>
            </a:xfrm>
            <a:custGeom>
              <a:avLst/>
              <a:gdLst>
                <a:gd name="connsiteX0" fmla="*/ 0 w 48175"/>
                <a:gd name="connsiteY0" fmla="*/ 0 h 42606"/>
                <a:gd name="connsiteX1" fmla="*/ 48176 w 48175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175" h="42606">
                  <a:moveTo>
                    <a:pt x="0" y="0"/>
                  </a:moveTo>
                  <a:lnTo>
                    <a:pt x="48176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0E1C2843-7013-4E04-B72D-3D0980CC2AE6}"/>
                </a:ext>
              </a:extLst>
            </p:cNvPr>
            <p:cNvSpPr/>
            <p:nvPr/>
          </p:nvSpPr>
          <p:spPr>
            <a:xfrm>
              <a:off x="1818434" y="3621316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E5025800-BF52-40D6-90D9-9781FF5EA319}"/>
                </a:ext>
              </a:extLst>
            </p:cNvPr>
            <p:cNvSpPr/>
            <p:nvPr/>
          </p:nvSpPr>
          <p:spPr>
            <a:xfrm>
              <a:off x="1363965" y="4524965"/>
              <a:ext cx="45391" cy="40100"/>
            </a:xfrm>
            <a:custGeom>
              <a:avLst/>
              <a:gdLst>
                <a:gd name="connsiteX0" fmla="*/ 0 w 45391"/>
                <a:gd name="connsiteY0" fmla="*/ 0 h 40100"/>
                <a:gd name="connsiteX1" fmla="*/ 45391 w 45391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91" h="40100">
                  <a:moveTo>
                    <a:pt x="0" y="0"/>
                  </a:moveTo>
                  <a:lnTo>
                    <a:pt x="4539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6CA4968F-29D8-4CE1-B5F7-3FA03F8F3C2A}"/>
                </a:ext>
              </a:extLst>
            </p:cNvPr>
            <p:cNvSpPr/>
            <p:nvPr/>
          </p:nvSpPr>
          <p:spPr>
            <a:xfrm>
              <a:off x="1131161" y="4522458"/>
              <a:ext cx="32302" cy="42606"/>
            </a:xfrm>
            <a:custGeom>
              <a:avLst/>
              <a:gdLst>
                <a:gd name="connsiteX0" fmla="*/ 0 w 32302"/>
                <a:gd name="connsiteY0" fmla="*/ 0 h 42606"/>
                <a:gd name="connsiteX1" fmla="*/ 32303 w 32302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302" h="42606">
                  <a:moveTo>
                    <a:pt x="0" y="0"/>
                  </a:moveTo>
                  <a:lnTo>
                    <a:pt x="32303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B1970FF1-2CAD-4F14-8668-992A510E0197}"/>
                </a:ext>
              </a:extLst>
            </p:cNvPr>
            <p:cNvSpPr/>
            <p:nvPr/>
          </p:nvSpPr>
          <p:spPr>
            <a:xfrm>
              <a:off x="1591200" y="3843260"/>
              <a:ext cx="34530" cy="45391"/>
            </a:xfrm>
            <a:custGeom>
              <a:avLst/>
              <a:gdLst>
                <a:gd name="connsiteX0" fmla="*/ 0 w 34530"/>
                <a:gd name="connsiteY0" fmla="*/ 0 h 45391"/>
                <a:gd name="connsiteX1" fmla="*/ 34531 w 3453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391">
                  <a:moveTo>
                    <a:pt x="0" y="0"/>
                  </a:moveTo>
                  <a:lnTo>
                    <a:pt x="34531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3AD74046-24FD-4183-9DB7-6A98769CF1FA}"/>
                </a:ext>
              </a:extLst>
            </p:cNvPr>
            <p:cNvSpPr/>
            <p:nvPr/>
          </p:nvSpPr>
          <p:spPr>
            <a:xfrm>
              <a:off x="7063491" y="696783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071B3723-F304-4715-9E12-52C8DCC0C2BF}"/>
                </a:ext>
              </a:extLst>
            </p:cNvPr>
            <p:cNvSpPr/>
            <p:nvPr/>
          </p:nvSpPr>
          <p:spPr>
            <a:xfrm>
              <a:off x="10258145" y="5645265"/>
              <a:ext cx="32024" cy="42606"/>
            </a:xfrm>
            <a:custGeom>
              <a:avLst/>
              <a:gdLst>
                <a:gd name="connsiteX0" fmla="*/ 0 w 32024"/>
                <a:gd name="connsiteY0" fmla="*/ 0 h 42606"/>
                <a:gd name="connsiteX1" fmla="*/ 32024 w 32024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42606">
                  <a:moveTo>
                    <a:pt x="0" y="0"/>
                  </a:moveTo>
                  <a:lnTo>
                    <a:pt x="32024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C145262F-41A8-481C-80DF-45E14C8150BA}"/>
                </a:ext>
              </a:extLst>
            </p:cNvPr>
            <p:cNvSpPr/>
            <p:nvPr/>
          </p:nvSpPr>
          <p:spPr>
            <a:xfrm>
              <a:off x="8662210" y="921233"/>
              <a:ext cx="34530" cy="45669"/>
            </a:xfrm>
            <a:custGeom>
              <a:avLst/>
              <a:gdLst>
                <a:gd name="connsiteX0" fmla="*/ 0 w 34530"/>
                <a:gd name="connsiteY0" fmla="*/ 0 h 45669"/>
                <a:gd name="connsiteX1" fmla="*/ 34531 w 3453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5669">
                  <a:moveTo>
                    <a:pt x="0" y="0"/>
                  </a:moveTo>
                  <a:lnTo>
                    <a:pt x="3453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A0A10A49-4E89-4011-8F9D-00EB50B6106B}"/>
                </a:ext>
              </a:extLst>
            </p:cNvPr>
            <p:cNvSpPr/>
            <p:nvPr/>
          </p:nvSpPr>
          <p:spPr>
            <a:xfrm>
              <a:off x="1591200" y="3394082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13AAF9EC-E9CD-42C3-8328-646C9C1E6FBF}"/>
                </a:ext>
              </a:extLst>
            </p:cNvPr>
            <p:cNvSpPr/>
            <p:nvPr/>
          </p:nvSpPr>
          <p:spPr>
            <a:xfrm>
              <a:off x="843219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6215EB9E-8F3B-4E10-B8FF-A1162D1C0B5B}"/>
                </a:ext>
              </a:extLst>
            </p:cNvPr>
            <p:cNvSpPr/>
            <p:nvPr/>
          </p:nvSpPr>
          <p:spPr>
            <a:xfrm>
              <a:off x="7977721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0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0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18955D5-2DC0-48D7-9DF8-956F19100D48}"/>
                </a:ext>
              </a:extLst>
            </p:cNvPr>
            <p:cNvSpPr/>
            <p:nvPr/>
          </p:nvSpPr>
          <p:spPr>
            <a:xfrm>
              <a:off x="7747702" y="921233"/>
              <a:ext cx="40100" cy="45669"/>
            </a:xfrm>
            <a:custGeom>
              <a:avLst/>
              <a:gdLst>
                <a:gd name="connsiteX0" fmla="*/ 0 w 40100"/>
                <a:gd name="connsiteY0" fmla="*/ 0 h 45669"/>
                <a:gd name="connsiteX1" fmla="*/ 40101 w 40100"/>
                <a:gd name="connsiteY1" fmla="*/ 45670 h 4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669">
                  <a:moveTo>
                    <a:pt x="0" y="0"/>
                  </a:moveTo>
                  <a:lnTo>
                    <a:pt x="40101" y="456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CFA3E997-4969-4E59-91C3-EC3E3ECFC104}"/>
                </a:ext>
              </a:extLst>
            </p:cNvPr>
            <p:cNvSpPr/>
            <p:nvPr/>
          </p:nvSpPr>
          <p:spPr>
            <a:xfrm>
              <a:off x="9573656" y="1367905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89FA80C5-D2A7-42BD-8AC3-A5B13803EB61}"/>
                </a:ext>
              </a:extLst>
            </p:cNvPr>
            <p:cNvSpPr/>
            <p:nvPr/>
          </p:nvSpPr>
          <p:spPr>
            <a:xfrm>
              <a:off x="8204956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CF85A817-5641-408D-A684-E2EB99FACCD8}"/>
                </a:ext>
              </a:extLst>
            </p:cNvPr>
            <p:cNvSpPr/>
            <p:nvPr/>
          </p:nvSpPr>
          <p:spPr>
            <a:xfrm>
              <a:off x="7520467" y="918726"/>
              <a:ext cx="40100" cy="45391"/>
            </a:xfrm>
            <a:custGeom>
              <a:avLst/>
              <a:gdLst>
                <a:gd name="connsiteX0" fmla="*/ 0 w 40100"/>
                <a:gd name="connsiteY0" fmla="*/ 0 h 45391"/>
                <a:gd name="connsiteX1" fmla="*/ 40100 w 40100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5391">
                  <a:moveTo>
                    <a:pt x="0" y="0"/>
                  </a:moveTo>
                  <a:lnTo>
                    <a:pt x="4010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2A4A1855-A11C-44C1-AAEC-18D270A7CC9F}"/>
                </a:ext>
              </a:extLst>
            </p:cNvPr>
            <p:cNvSpPr/>
            <p:nvPr/>
          </p:nvSpPr>
          <p:spPr>
            <a:xfrm>
              <a:off x="10028125" y="1592355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10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10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2E402352-A0B4-4B7B-83CE-3BE9ACCC536D}"/>
                </a:ext>
              </a:extLst>
            </p:cNvPr>
            <p:cNvSpPr/>
            <p:nvPr/>
          </p:nvSpPr>
          <p:spPr>
            <a:xfrm>
              <a:off x="1133945" y="3172416"/>
              <a:ext cx="34809" cy="45391"/>
            </a:xfrm>
            <a:custGeom>
              <a:avLst/>
              <a:gdLst>
                <a:gd name="connsiteX0" fmla="*/ 0 w 34809"/>
                <a:gd name="connsiteY0" fmla="*/ 0 h 45391"/>
                <a:gd name="connsiteX1" fmla="*/ 34809 w 34809"/>
                <a:gd name="connsiteY1" fmla="*/ 45391 h 45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5391">
                  <a:moveTo>
                    <a:pt x="0" y="0"/>
                  </a:moveTo>
                  <a:lnTo>
                    <a:pt x="34809" y="453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AA7912CB-751E-4BB6-83DD-E2A4EB1BB7D9}"/>
                </a:ext>
              </a:extLst>
            </p:cNvPr>
            <p:cNvSpPr/>
            <p:nvPr/>
          </p:nvSpPr>
          <p:spPr>
            <a:xfrm>
              <a:off x="1131161" y="4746908"/>
              <a:ext cx="34809" cy="40100"/>
            </a:xfrm>
            <a:custGeom>
              <a:avLst/>
              <a:gdLst>
                <a:gd name="connsiteX0" fmla="*/ 0 w 34809"/>
                <a:gd name="connsiteY0" fmla="*/ 0 h 40100"/>
                <a:gd name="connsiteX1" fmla="*/ 34809 w 3480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809" h="40100">
                  <a:moveTo>
                    <a:pt x="0" y="0"/>
                  </a:moveTo>
                  <a:lnTo>
                    <a:pt x="3480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00717562-E173-467B-8C09-EAC2907303BC}"/>
                </a:ext>
              </a:extLst>
            </p:cNvPr>
            <p:cNvSpPr/>
            <p:nvPr/>
          </p:nvSpPr>
          <p:spPr>
            <a:xfrm>
              <a:off x="10030910" y="5647772"/>
              <a:ext cx="42606" cy="42884"/>
            </a:xfrm>
            <a:custGeom>
              <a:avLst/>
              <a:gdLst>
                <a:gd name="connsiteX0" fmla="*/ 0 w 42606"/>
                <a:gd name="connsiteY0" fmla="*/ 0 h 42884"/>
                <a:gd name="connsiteX1" fmla="*/ 42606 w 42606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884">
                  <a:moveTo>
                    <a:pt x="0" y="0"/>
                  </a:moveTo>
                  <a:lnTo>
                    <a:pt x="42606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4FD60DA7-0333-4323-ADB6-3B620604618F}"/>
                </a:ext>
              </a:extLst>
            </p:cNvPr>
            <p:cNvSpPr/>
            <p:nvPr/>
          </p:nvSpPr>
          <p:spPr>
            <a:xfrm>
              <a:off x="1133945" y="5647772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0DD56E74-C948-4DE1-821F-2A4C1DEC5DFE}"/>
                </a:ext>
              </a:extLst>
            </p:cNvPr>
            <p:cNvSpPr/>
            <p:nvPr/>
          </p:nvSpPr>
          <p:spPr>
            <a:xfrm>
              <a:off x="7293232" y="921233"/>
              <a:ext cx="42884" cy="42884"/>
            </a:xfrm>
            <a:custGeom>
              <a:avLst/>
              <a:gdLst>
                <a:gd name="connsiteX0" fmla="*/ 0 w 42884"/>
                <a:gd name="connsiteY0" fmla="*/ 0 h 42884"/>
                <a:gd name="connsiteX1" fmla="*/ 42885 w 42884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884">
                  <a:moveTo>
                    <a:pt x="0" y="0"/>
                  </a:moveTo>
                  <a:lnTo>
                    <a:pt x="42885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E3935941-DAD8-40BA-9AAA-E929447C146A}"/>
                </a:ext>
              </a:extLst>
            </p:cNvPr>
            <p:cNvSpPr/>
            <p:nvPr/>
          </p:nvSpPr>
          <p:spPr>
            <a:xfrm>
              <a:off x="9116680" y="921233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468F6404-9F25-42CE-985F-477B0194374F}"/>
                </a:ext>
              </a:extLst>
            </p:cNvPr>
            <p:cNvSpPr/>
            <p:nvPr/>
          </p:nvSpPr>
          <p:spPr>
            <a:xfrm>
              <a:off x="8204956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07877D56-1DAC-4D8A-B1FA-C513A5280B83}"/>
                </a:ext>
              </a:extLst>
            </p:cNvPr>
            <p:cNvSpPr/>
            <p:nvPr/>
          </p:nvSpPr>
          <p:spPr>
            <a:xfrm>
              <a:off x="7520467" y="693998"/>
              <a:ext cx="21442" cy="42884"/>
            </a:xfrm>
            <a:custGeom>
              <a:avLst/>
              <a:gdLst>
                <a:gd name="connsiteX0" fmla="*/ 0 w 21442"/>
                <a:gd name="connsiteY0" fmla="*/ 0 h 42884"/>
                <a:gd name="connsiteX1" fmla="*/ 21443 w 21442"/>
                <a:gd name="connsiteY1" fmla="*/ 42885 h 4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42884">
                  <a:moveTo>
                    <a:pt x="0" y="0"/>
                  </a:moveTo>
                  <a:lnTo>
                    <a:pt x="21443" y="4288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8E036B9C-ACC2-432F-8D7D-BB70EB9747BB}"/>
                </a:ext>
              </a:extLst>
            </p:cNvPr>
            <p:cNvSpPr/>
            <p:nvPr/>
          </p:nvSpPr>
          <p:spPr>
            <a:xfrm>
              <a:off x="1133945" y="5423322"/>
              <a:ext cx="42884" cy="42606"/>
            </a:xfrm>
            <a:custGeom>
              <a:avLst/>
              <a:gdLst>
                <a:gd name="connsiteX0" fmla="*/ 0 w 42884"/>
                <a:gd name="connsiteY0" fmla="*/ 0 h 42606"/>
                <a:gd name="connsiteX1" fmla="*/ 42885 w 42884"/>
                <a:gd name="connsiteY1" fmla="*/ 42606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84" h="42606">
                  <a:moveTo>
                    <a:pt x="0" y="0"/>
                  </a:moveTo>
                  <a:lnTo>
                    <a:pt x="42885" y="4260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74BC600E-8E24-4229-998C-1E712CD45722}"/>
                </a:ext>
              </a:extLst>
            </p:cNvPr>
            <p:cNvSpPr/>
            <p:nvPr/>
          </p:nvSpPr>
          <p:spPr>
            <a:xfrm>
              <a:off x="9116680" y="1145961"/>
              <a:ext cx="42606" cy="42606"/>
            </a:xfrm>
            <a:custGeom>
              <a:avLst/>
              <a:gdLst>
                <a:gd name="connsiteX0" fmla="*/ 0 w 42606"/>
                <a:gd name="connsiteY0" fmla="*/ 0 h 42606"/>
                <a:gd name="connsiteX1" fmla="*/ 42607 w 42606"/>
                <a:gd name="connsiteY1" fmla="*/ 42607 h 4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06" h="42606">
                  <a:moveTo>
                    <a:pt x="0" y="0"/>
                  </a:moveTo>
                  <a:lnTo>
                    <a:pt x="42607" y="4260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7DAD47C-AAE7-44AA-9877-E25B9CB7387E}"/>
                </a:ext>
              </a:extLst>
            </p:cNvPr>
            <p:cNvSpPr/>
            <p:nvPr/>
          </p:nvSpPr>
          <p:spPr>
            <a:xfrm>
              <a:off x="9798384" y="1373196"/>
              <a:ext cx="34530" cy="40100"/>
            </a:xfrm>
            <a:custGeom>
              <a:avLst/>
              <a:gdLst>
                <a:gd name="connsiteX0" fmla="*/ 0 w 34530"/>
                <a:gd name="connsiteY0" fmla="*/ 0 h 40100"/>
                <a:gd name="connsiteX1" fmla="*/ 34531 w 3453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30" h="40100">
                  <a:moveTo>
                    <a:pt x="0" y="0"/>
                  </a:moveTo>
                  <a:lnTo>
                    <a:pt x="34531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0ECA4BF9-3B58-481D-91DD-C2C9129E0D69}"/>
                </a:ext>
              </a:extLst>
            </p:cNvPr>
            <p:cNvSpPr/>
            <p:nvPr/>
          </p:nvSpPr>
          <p:spPr>
            <a:xfrm>
              <a:off x="1131161" y="4073280"/>
              <a:ext cx="21442" cy="37315"/>
            </a:xfrm>
            <a:custGeom>
              <a:avLst/>
              <a:gdLst>
                <a:gd name="connsiteX0" fmla="*/ 0 w 21442"/>
                <a:gd name="connsiteY0" fmla="*/ 0 h 37315"/>
                <a:gd name="connsiteX1" fmla="*/ 21442 w 21442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315">
                  <a:moveTo>
                    <a:pt x="0" y="0"/>
                  </a:moveTo>
                  <a:lnTo>
                    <a:pt x="21442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16107506-AE96-406E-8EB4-7EB80A78CCBD}"/>
                </a:ext>
              </a:extLst>
            </p:cNvPr>
            <p:cNvSpPr/>
            <p:nvPr/>
          </p:nvSpPr>
          <p:spPr>
            <a:xfrm>
              <a:off x="1361180" y="3394082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D27B7152-33E6-4E60-9F45-7621BE546902}"/>
                </a:ext>
              </a:extLst>
            </p:cNvPr>
            <p:cNvSpPr/>
            <p:nvPr/>
          </p:nvSpPr>
          <p:spPr>
            <a:xfrm>
              <a:off x="10252854" y="1597646"/>
              <a:ext cx="23948" cy="34809"/>
            </a:xfrm>
            <a:custGeom>
              <a:avLst/>
              <a:gdLst>
                <a:gd name="connsiteX0" fmla="*/ 0 w 23948"/>
                <a:gd name="connsiteY0" fmla="*/ 0 h 34809"/>
                <a:gd name="connsiteX1" fmla="*/ 23948 w 23948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34809">
                  <a:moveTo>
                    <a:pt x="0" y="0"/>
                  </a:moveTo>
                  <a:lnTo>
                    <a:pt x="2394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D60463E0-A40F-422F-9255-FC33BDF8CE5F}"/>
                </a:ext>
              </a:extLst>
            </p:cNvPr>
            <p:cNvSpPr/>
            <p:nvPr/>
          </p:nvSpPr>
          <p:spPr>
            <a:xfrm>
              <a:off x="6838763" y="696783"/>
              <a:ext cx="40100" cy="40100"/>
            </a:xfrm>
            <a:custGeom>
              <a:avLst/>
              <a:gdLst>
                <a:gd name="connsiteX0" fmla="*/ 0 w 40100"/>
                <a:gd name="connsiteY0" fmla="*/ 0 h 40100"/>
                <a:gd name="connsiteX1" fmla="*/ 40100 w 40100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100" h="40100">
                  <a:moveTo>
                    <a:pt x="0" y="0"/>
                  </a:moveTo>
                  <a:lnTo>
                    <a:pt x="4010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A429FDAF-F9CF-4177-91C0-13DFB8E7A76C}"/>
                </a:ext>
              </a:extLst>
            </p:cNvPr>
            <p:cNvSpPr/>
            <p:nvPr/>
          </p:nvSpPr>
          <p:spPr>
            <a:xfrm>
              <a:off x="7293232" y="696783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7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7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0DE99FDB-C4E9-4C3D-B652-474E815710C6}"/>
                </a:ext>
              </a:extLst>
            </p:cNvPr>
            <p:cNvSpPr/>
            <p:nvPr/>
          </p:nvSpPr>
          <p:spPr>
            <a:xfrm>
              <a:off x="906711" y="519608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AA798FB3-0D48-43EA-AF16-613842D364DC}"/>
                </a:ext>
              </a:extLst>
            </p:cNvPr>
            <p:cNvSpPr/>
            <p:nvPr/>
          </p:nvSpPr>
          <p:spPr>
            <a:xfrm>
              <a:off x="906711" y="5645265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C1103C9A-C978-491C-B50D-2AE5D9A0DB74}"/>
                </a:ext>
              </a:extLst>
            </p:cNvPr>
            <p:cNvSpPr/>
            <p:nvPr/>
          </p:nvSpPr>
          <p:spPr>
            <a:xfrm>
              <a:off x="9573656" y="1143177"/>
              <a:ext cx="24227" cy="40100"/>
            </a:xfrm>
            <a:custGeom>
              <a:avLst/>
              <a:gdLst>
                <a:gd name="connsiteX0" fmla="*/ 0 w 24227"/>
                <a:gd name="connsiteY0" fmla="*/ 0 h 40100"/>
                <a:gd name="connsiteX1" fmla="*/ 24228 w 24227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40100">
                  <a:moveTo>
                    <a:pt x="0" y="0"/>
                  </a:moveTo>
                  <a:lnTo>
                    <a:pt x="2422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02DBC688-2E07-43E9-9F0F-3ACE7789D705}"/>
                </a:ext>
              </a:extLst>
            </p:cNvPr>
            <p:cNvSpPr/>
            <p:nvPr/>
          </p:nvSpPr>
          <p:spPr>
            <a:xfrm>
              <a:off x="1363965" y="407578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9350D291-0D33-4EC6-9C1B-AAF617336B10}"/>
                </a:ext>
              </a:extLst>
            </p:cNvPr>
            <p:cNvSpPr/>
            <p:nvPr/>
          </p:nvSpPr>
          <p:spPr>
            <a:xfrm>
              <a:off x="10260651" y="1824881"/>
              <a:ext cx="29518" cy="40100"/>
            </a:xfrm>
            <a:custGeom>
              <a:avLst/>
              <a:gdLst>
                <a:gd name="connsiteX0" fmla="*/ 0 w 29518"/>
                <a:gd name="connsiteY0" fmla="*/ 0 h 40100"/>
                <a:gd name="connsiteX1" fmla="*/ 29518 w 2951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18" h="40100">
                  <a:moveTo>
                    <a:pt x="0" y="0"/>
                  </a:moveTo>
                  <a:lnTo>
                    <a:pt x="29518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93EC2BE-533B-4E07-B81E-94C6F6C04C60}"/>
                </a:ext>
              </a:extLst>
            </p:cNvPr>
            <p:cNvSpPr/>
            <p:nvPr/>
          </p:nvSpPr>
          <p:spPr>
            <a:xfrm>
              <a:off x="906711" y="5420537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F5E73528-29E4-468C-A502-66CCF3778AC2}"/>
                </a:ext>
              </a:extLst>
            </p:cNvPr>
            <p:cNvSpPr/>
            <p:nvPr/>
          </p:nvSpPr>
          <p:spPr>
            <a:xfrm>
              <a:off x="8889445" y="918726"/>
              <a:ext cx="29239" cy="40100"/>
            </a:xfrm>
            <a:custGeom>
              <a:avLst/>
              <a:gdLst>
                <a:gd name="connsiteX0" fmla="*/ 0 w 29239"/>
                <a:gd name="connsiteY0" fmla="*/ 0 h 40100"/>
                <a:gd name="connsiteX1" fmla="*/ 29240 w 29239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39" h="40100">
                  <a:moveTo>
                    <a:pt x="0" y="0"/>
                  </a:moveTo>
                  <a:lnTo>
                    <a:pt x="29240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FC335B72-DE0C-4E03-98D2-C8D49EE7F378}"/>
                </a:ext>
              </a:extLst>
            </p:cNvPr>
            <p:cNvSpPr/>
            <p:nvPr/>
          </p:nvSpPr>
          <p:spPr>
            <a:xfrm>
              <a:off x="6836257" y="469548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A954735D-F985-4C90-BE29-F6E71AE0395D}"/>
                </a:ext>
              </a:extLst>
            </p:cNvPr>
            <p:cNvSpPr/>
            <p:nvPr/>
          </p:nvSpPr>
          <p:spPr>
            <a:xfrm>
              <a:off x="1591200" y="3618810"/>
              <a:ext cx="23948" cy="40100"/>
            </a:xfrm>
            <a:custGeom>
              <a:avLst/>
              <a:gdLst>
                <a:gd name="connsiteX0" fmla="*/ 0 w 23948"/>
                <a:gd name="connsiteY0" fmla="*/ 0 h 40100"/>
                <a:gd name="connsiteX1" fmla="*/ 23949 w 23948"/>
                <a:gd name="connsiteY1" fmla="*/ 40100 h 4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48" h="40100">
                  <a:moveTo>
                    <a:pt x="0" y="0"/>
                  </a:moveTo>
                  <a:lnTo>
                    <a:pt x="23949" y="4010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6B8D2458-0605-4674-90B6-C361530ABFD9}"/>
                </a:ext>
              </a:extLst>
            </p:cNvPr>
            <p:cNvSpPr/>
            <p:nvPr/>
          </p:nvSpPr>
          <p:spPr>
            <a:xfrm>
              <a:off x="7974937" y="693998"/>
              <a:ext cx="21442" cy="37593"/>
            </a:xfrm>
            <a:custGeom>
              <a:avLst/>
              <a:gdLst>
                <a:gd name="connsiteX0" fmla="*/ 0 w 21442"/>
                <a:gd name="connsiteY0" fmla="*/ 0 h 37593"/>
                <a:gd name="connsiteX1" fmla="*/ 21442 w 21442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442" h="37593">
                  <a:moveTo>
                    <a:pt x="0" y="0"/>
                  </a:moveTo>
                  <a:lnTo>
                    <a:pt x="21442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840D4341-0825-4824-A2CE-4AEAFF9BCE10}"/>
                </a:ext>
              </a:extLst>
            </p:cNvPr>
            <p:cNvSpPr/>
            <p:nvPr/>
          </p:nvSpPr>
          <p:spPr>
            <a:xfrm>
              <a:off x="8889445" y="693998"/>
              <a:ext cx="15873" cy="37593"/>
            </a:xfrm>
            <a:custGeom>
              <a:avLst/>
              <a:gdLst>
                <a:gd name="connsiteX0" fmla="*/ 0 w 15873"/>
                <a:gd name="connsiteY0" fmla="*/ 0 h 37593"/>
                <a:gd name="connsiteX1" fmla="*/ 15873 w 1587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3" h="37593">
                  <a:moveTo>
                    <a:pt x="0" y="0"/>
                  </a:moveTo>
                  <a:lnTo>
                    <a:pt x="15873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5CBD1BDE-E67D-4453-9235-9A57AC740850}"/>
                </a:ext>
              </a:extLst>
            </p:cNvPr>
            <p:cNvSpPr/>
            <p:nvPr/>
          </p:nvSpPr>
          <p:spPr>
            <a:xfrm>
              <a:off x="1131161" y="4297730"/>
              <a:ext cx="24227" cy="34809"/>
            </a:xfrm>
            <a:custGeom>
              <a:avLst/>
              <a:gdLst>
                <a:gd name="connsiteX0" fmla="*/ 0 w 24227"/>
                <a:gd name="connsiteY0" fmla="*/ 0 h 34809"/>
                <a:gd name="connsiteX1" fmla="*/ 24227 w 2422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227" h="34809">
                  <a:moveTo>
                    <a:pt x="0" y="0"/>
                  </a:moveTo>
                  <a:lnTo>
                    <a:pt x="24227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A3638123-C6FF-4B12-AFA9-8B54AD1937CB}"/>
                </a:ext>
              </a:extLst>
            </p:cNvPr>
            <p:cNvSpPr/>
            <p:nvPr/>
          </p:nvSpPr>
          <p:spPr>
            <a:xfrm>
              <a:off x="6609022" y="472333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5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5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5A0DDC1-368E-414D-B700-567E3E4C6B89}"/>
                </a:ext>
              </a:extLst>
            </p:cNvPr>
            <p:cNvSpPr/>
            <p:nvPr/>
          </p:nvSpPr>
          <p:spPr>
            <a:xfrm>
              <a:off x="676691" y="5645265"/>
              <a:ext cx="16151" cy="37315"/>
            </a:xfrm>
            <a:custGeom>
              <a:avLst/>
              <a:gdLst>
                <a:gd name="connsiteX0" fmla="*/ 0 w 16151"/>
                <a:gd name="connsiteY0" fmla="*/ 0 h 37315"/>
                <a:gd name="connsiteX1" fmla="*/ 16151 w 16151"/>
                <a:gd name="connsiteY1" fmla="*/ 37315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315">
                  <a:moveTo>
                    <a:pt x="0" y="0"/>
                  </a:moveTo>
                  <a:lnTo>
                    <a:pt x="16151" y="3731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0B2DBB84-D0A1-472D-B0F4-C8815A068FA7}"/>
                </a:ext>
              </a:extLst>
            </p:cNvPr>
            <p:cNvSpPr/>
            <p:nvPr/>
          </p:nvSpPr>
          <p:spPr>
            <a:xfrm>
              <a:off x="1363965" y="4300515"/>
              <a:ext cx="32024" cy="37315"/>
            </a:xfrm>
            <a:custGeom>
              <a:avLst/>
              <a:gdLst>
                <a:gd name="connsiteX0" fmla="*/ 0 w 32024"/>
                <a:gd name="connsiteY0" fmla="*/ 0 h 37315"/>
                <a:gd name="connsiteX1" fmla="*/ 32024 w 32024"/>
                <a:gd name="connsiteY1" fmla="*/ 37316 h 37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24" h="37315">
                  <a:moveTo>
                    <a:pt x="0" y="0"/>
                  </a:moveTo>
                  <a:lnTo>
                    <a:pt x="32024" y="3731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38DE7272-C6F3-44ED-9E70-E9D1E1ECB9B4}"/>
                </a:ext>
              </a:extLst>
            </p:cNvPr>
            <p:cNvSpPr/>
            <p:nvPr/>
          </p:nvSpPr>
          <p:spPr>
            <a:xfrm>
              <a:off x="676691" y="5420537"/>
              <a:ext cx="16151" cy="37593"/>
            </a:xfrm>
            <a:custGeom>
              <a:avLst/>
              <a:gdLst>
                <a:gd name="connsiteX0" fmla="*/ 0 w 16151"/>
                <a:gd name="connsiteY0" fmla="*/ 0 h 37593"/>
                <a:gd name="connsiteX1" fmla="*/ 16151 w 16151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7593">
                  <a:moveTo>
                    <a:pt x="0" y="0"/>
                  </a:moveTo>
                  <a:lnTo>
                    <a:pt x="16151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2F6AF9DD-55F6-47D0-A5C2-F3B334547D39}"/>
                </a:ext>
              </a:extLst>
            </p:cNvPr>
            <p:cNvSpPr/>
            <p:nvPr/>
          </p:nvSpPr>
          <p:spPr>
            <a:xfrm>
              <a:off x="679476" y="2947688"/>
              <a:ext cx="26733" cy="37593"/>
            </a:xfrm>
            <a:custGeom>
              <a:avLst/>
              <a:gdLst>
                <a:gd name="connsiteX0" fmla="*/ 0 w 26733"/>
                <a:gd name="connsiteY0" fmla="*/ 0 h 37593"/>
                <a:gd name="connsiteX1" fmla="*/ 26734 w 26733"/>
                <a:gd name="connsiteY1" fmla="*/ 37594 h 3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733" h="37593">
                  <a:moveTo>
                    <a:pt x="0" y="0"/>
                  </a:moveTo>
                  <a:lnTo>
                    <a:pt x="26734" y="3759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777C73DD-552B-4573-8E79-33CA468B3E4B}"/>
                </a:ext>
              </a:extLst>
            </p:cNvPr>
            <p:cNvSpPr/>
            <p:nvPr/>
          </p:nvSpPr>
          <p:spPr>
            <a:xfrm>
              <a:off x="1131161" y="3399651"/>
              <a:ext cx="16151" cy="32024"/>
            </a:xfrm>
            <a:custGeom>
              <a:avLst/>
              <a:gdLst>
                <a:gd name="connsiteX0" fmla="*/ 0 w 16151"/>
                <a:gd name="connsiteY0" fmla="*/ 0 h 32024"/>
                <a:gd name="connsiteX1" fmla="*/ 16151 w 16151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151" h="32024">
                  <a:moveTo>
                    <a:pt x="0" y="0"/>
                  </a:moveTo>
                  <a:lnTo>
                    <a:pt x="16151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7983AF5E-E7DA-40A9-BA14-9A6C6183E996}"/>
                </a:ext>
              </a:extLst>
            </p:cNvPr>
            <p:cNvSpPr/>
            <p:nvPr/>
          </p:nvSpPr>
          <p:spPr>
            <a:xfrm>
              <a:off x="906711" y="316963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EC266588-8EF9-4761-8F71-083C4C995B69}"/>
                </a:ext>
              </a:extLst>
            </p:cNvPr>
            <p:cNvSpPr/>
            <p:nvPr/>
          </p:nvSpPr>
          <p:spPr>
            <a:xfrm>
              <a:off x="8659426" y="69399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9307E7DC-99FC-44A0-A872-B3E1AD3A7F7A}"/>
                </a:ext>
              </a:extLst>
            </p:cNvPr>
            <p:cNvSpPr/>
            <p:nvPr/>
          </p:nvSpPr>
          <p:spPr>
            <a:xfrm>
              <a:off x="10030910" y="1375702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C8BD09A6-4162-4453-9B94-D7960DFF38B5}"/>
                </a:ext>
              </a:extLst>
            </p:cNvPr>
            <p:cNvSpPr/>
            <p:nvPr/>
          </p:nvSpPr>
          <p:spPr>
            <a:xfrm>
              <a:off x="906711" y="497135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45F94220-F76A-41AB-9D2F-28BAA6088C05}"/>
                </a:ext>
              </a:extLst>
            </p:cNvPr>
            <p:cNvSpPr/>
            <p:nvPr/>
          </p:nvSpPr>
          <p:spPr>
            <a:xfrm>
              <a:off x="906711" y="4746908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3" name="Freeform: Shape 1562">
              <a:extLst>
                <a:ext uri="{FF2B5EF4-FFF2-40B4-BE49-F238E27FC236}">
                  <a16:creationId xmlns:a16="http://schemas.microsoft.com/office/drawing/2014/main" id="{55C4524B-5122-496C-A132-D3B909BCC197}"/>
                </a:ext>
              </a:extLst>
            </p:cNvPr>
            <p:cNvSpPr/>
            <p:nvPr/>
          </p:nvSpPr>
          <p:spPr>
            <a:xfrm>
              <a:off x="9343915" y="918726"/>
              <a:ext cx="18657" cy="34809"/>
            </a:xfrm>
            <a:custGeom>
              <a:avLst/>
              <a:gdLst>
                <a:gd name="connsiteX0" fmla="*/ 0 w 18657"/>
                <a:gd name="connsiteY0" fmla="*/ 0 h 34809"/>
                <a:gd name="connsiteX1" fmla="*/ 18658 w 18657"/>
                <a:gd name="connsiteY1" fmla="*/ 34809 h 3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34809">
                  <a:moveTo>
                    <a:pt x="0" y="0"/>
                  </a:moveTo>
                  <a:lnTo>
                    <a:pt x="18658" y="3480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4" name="Freeform: Shape 1563">
              <a:extLst>
                <a:ext uri="{FF2B5EF4-FFF2-40B4-BE49-F238E27FC236}">
                  <a16:creationId xmlns:a16="http://schemas.microsoft.com/office/drawing/2014/main" id="{9E9ED03A-35D1-4133-ACF3-257226428458}"/>
                </a:ext>
              </a:extLst>
            </p:cNvPr>
            <p:cNvSpPr/>
            <p:nvPr/>
          </p:nvSpPr>
          <p:spPr>
            <a:xfrm>
              <a:off x="676691" y="3169632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0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0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5" name="Freeform: Shape 1564">
              <a:extLst>
                <a:ext uri="{FF2B5EF4-FFF2-40B4-BE49-F238E27FC236}">
                  <a16:creationId xmlns:a16="http://schemas.microsoft.com/office/drawing/2014/main" id="{F9EE83D9-306B-4862-AD41-073158A10C3F}"/>
                </a:ext>
              </a:extLst>
            </p:cNvPr>
            <p:cNvSpPr/>
            <p:nvPr/>
          </p:nvSpPr>
          <p:spPr>
            <a:xfrm>
              <a:off x="1363965" y="3626886"/>
              <a:ext cx="18657" cy="29239"/>
            </a:xfrm>
            <a:custGeom>
              <a:avLst/>
              <a:gdLst>
                <a:gd name="connsiteX0" fmla="*/ 0 w 18657"/>
                <a:gd name="connsiteY0" fmla="*/ 0 h 29239"/>
                <a:gd name="connsiteX1" fmla="*/ 18658 w 18657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239">
                  <a:moveTo>
                    <a:pt x="0" y="0"/>
                  </a:moveTo>
                  <a:lnTo>
                    <a:pt x="18658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D8C94CEE-6736-4AE5-A00A-37DD3BD45AE8}"/>
                </a:ext>
              </a:extLst>
            </p:cNvPr>
            <p:cNvSpPr/>
            <p:nvPr/>
          </p:nvSpPr>
          <p:spPr>
            <a:xfrm>
              <a:off x="7290726" y="469548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646B2552-EED4-4A0A-85EA-3E777A72F448}"/>
                </a:ext>
              </a:extLst>
            </p:cNvPr>
            <p:cNvSpPr/>
            <p:nvPr/>
          </p:nvSpPr>
          <p:spPr>
            <a:xfrm>
              <a:off x="906711" y="4297730"/>
              <a:ext cx="10582" cy="32024"/>
            </a:xfrm>
            <a:custGeom>
              <a:avLst/>
              <a:gdLst>
                <a:gd name="connsiteX0" fmla="*/ 0 w 10582"/>
                <a:gd name="connsiteY0" fmla="*/ 0 h 32024"/>
                <a:gd name="connsiteX1" fmla="*/ 10582 w 10582"/>
                <a:gd name="connsiteY1" fmla="*/ 32024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32024">
                  <a:moveTo>
                    <a:pt x="0" y="0"/>
                  </a:moveTo>
                  <a:lnTo>
                    <a:pt x="10582" y="3202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150A7F63-7A5B-40A3-B2C4-1A918280210E}"/>
                </a:ext>
              </a:extLst>
            </p:cNvPr>
            <p:cNvSpPr/>
            <p:nvPr/>
          </p:nvSpPr>
          <p:spPr>
            <a:xfrm>
              <a:off x="8434976" y="702074"/>
              <a:ext cx="21164" cy="29518"/>
            </a:xfrm>
            <a:custGeom>
              <a:avLst/>
              <a:gdLst>
                <a:gd name="connsiteX0" fmla="*/ 0 w 21164"/>
                <a:gd name="connsiteY0" fmla="*/ 0 h 29518"/>
                <a:gd name="connsiteX1" fmla="*/ 21164 w 21164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29518">
                  <a:moveTo>
                    <a:pt x="0" y="0"/>
                  </a:moveTo>
                  <a:lnTo>
                    <a:pt x="21164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F7BB89E3-9DA9-49E7-A572-03F3A8957355}"/>
                </a:ext>
              </a:extLst>
            </p:cNvPr>
            <p:cNvSpPr/>
            <p:nvPr/>
          </p:nvSpPr>
          <p:spPr>
            <a:xfrm>
              <a:off x="7753271" y="702074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7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EDBB2263-180E-4C1B-BD70-5C5462A2494A}"/>
                </a:ext>
              </a:extLst>
            </p:cNvPr>
            <p:cNvSpPr/>
            <p:nvPr/>
          </p:nvSpPr>
          <p:spPr>
            <a:xfrm>
              <a:off x="1363965" y="3851336"/>
              <a:ext cx="21164" cy="32024"/>
            </a:xfrm>
            <a:custGeom>
              <a:avLst/>
              <a:gdLst>
                <a:gd name="connsiteX0" fmla="*/ 0 w 21164"/>
                <a:gd name="connsiteY0" fmla="*/ 0 h 32024"/>
                <a:gd name="connsiteX1" fmla="*/ 21164 w 21164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164" h="32024">
                  <a:moveTo>
                    <a:pt x="0" y="0"/>
                  </a:moveTo>
                  <a:lnTo>
                    <a:pt x="21164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86909FFA-8466-4105-ACB7-7659C0D9221A}"/>
                </a:ext>
              </a:extLst>
            </p:cNvPr>
            <p:cNvSpPr/>
            <p:nvPr/>
          </p:nvSpPr>
          <p:spPr>
            <a:xfrm>
              <a:off x="9573656" y="918726"/>
              <a:ext cx="10860" cy="32024"/>
            </a:xfrm>
            <a:custGeom>
              <a:avLst/>
              <a:gdLst>
                <a:gd name="connsiteX0" fmla="*/ 0 w 10860"/>
                <a:gd name="connsiteY0" fmla="*/ 0 h 32024"/>
                <a:gd name="connsiteX1" fmla="*/ 10861 w 10860"/>
                <a:gd name="connsiteY1" fmla="*/ 32025 h 32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32024">
                  <a:moveTo>
                    <a:pt x="0" y="0"/>
                  </a:moveTo>
                  <a:lnTo>
                    <a:pt x="10861" y="3202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F91CE478-83D5-47C6-BF74-83BDADBDE15C}"/>
                </a:ext>
              </a:extLst>
            </p:cNvPr>
            <p:cNvSpPr/>
            <p:nvPr/>
          </p:nvSpPr>
          <p:spPr>
            <a:xfrm>
              <a:off x="9798384" y="1148468"/>
              <a:ext cx="18657" cy="29518"/>
            </a:xfrm>
            <a:custGeom>
              <a:avLst/>
              <a:gdLst>
                <a:gd name="connsiteX0" fmla="*/ 0 w 18657"/>
                <a:gd name="connsiteY0" fmla="*/ 0 h 29518"/>
                <a:gd name="connsiteX1" fmla="*/ 18658 w 18657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57" h="29518">
                  <a:moveTo>
                    <a:pt x="0" y="0"/>
                  </a:moveTo>
                  <a:lnTo>
                    <a:pt x="18658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9D3CAD05-C5CE-4413-9C46-C8522DD9EA76}"/>
                </a:ext>
              </a:extLst>
            </p:cNvPr>
            <p:cNvSpPr/>
            <p:nvPr/>
          </p:nvSpPr>
          <p:spPr>
            <a:xfrm>
              <a:off x="452241" y="2952979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88204051-90FA-4803-97F7-18D0DD2BBACA}"/>
                </a:ext>
              </a:extLst>
            </p:cNvPr>
            <p:cNvSpPr/>
            <p:nvPr/>
          </p:nvSpPr>
          <p:spPr>
            <a:xfrm>
              <a:off x="8204956" y="469548"/>
              <a:ext cx="10582" cy="26733"/>
            </a:xfrm>
            <a:custGeom>
              <a:avLst/>
              <a:gdLst>
                <a:gd name="connsiteX0" fmla="*/ 0 w 10582"/>
                <a:gd name="connsiteY0" fmla="*/ 0 h 26733"/>
                <a:gd name="connsiteX1" fmla="*/ 10582 w 10582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6733">
                  <a:moveTo>
                    <a:pt x="0" y="0"/>
                  </a:moveTo>
                  <a:lnTo>
                    <a:pt x="10582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0E6381B5-7180-48BA-8978-1EB7A04D6AEB}"/>
                </a:ext>
              </a:extLst>
            </p:cNvPr>
            <p:cNvSpPr/>
            <p:nvPr/>
          </p:nvSpPr>
          <p:spPr>
            <a:xfrm>
              <a:off x="676691" y="5196087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44E00081-FD60-4544-9252-82530A815BA8}"/>
                </a:ext>
              </a:extLst>
            </p:cNvPr>
            <p:cNvSpPr/>
            <p:nvPr/>
          </p:nvSpPr>
          <p:spPr>
            <a:xfrm>
              <a:off x="1133945" y="3851336"/>
              <a:ext cx="13366" cy="29518"/>
            </a:xfrm>
            <a:custGeom>
              <a:avLst/>
              <a:gdLst>
                <a:gd name="connsiteX0" fmla="*/ 0 w 13366"/>
                <a:gd name="connsiteY0" fmla="*/ 0 h 29518"/>
                <a:gd name="connsiteX1" fmla="*/ 13367 w 13366"/>
                <a:gd name="connsiteY1" fmla="*/ 29518 h 29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518">
                  <a:moveTo>
                    <a:pt x="0" y="0"/>
                  </a:moveTo>
                  <a:lnTo>
                    <a:pt x="13367" y="2951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D8447154-2BBA-418C-9944-4143CBBAC613}"/>
                </a:ext>
              </a:extLst>
            </p:cNvPr>
            <p:cNvSpPr/>
            <p:nvPr/>
          </p:nvSpPr>
          <p:spPr>
            <a:xfrm>
              <a:off x="10252854" y="1373196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570875FE-A28D-472B-8099-8AE7FC2BF563}"/>
                </a:ext>
              </a:extLst>
            </p:cNvPr>
            <p:cNvSpPr/>
            <p:nvPr/>
          </p:nvSpPr>
          <p:spPr>
            <a:xfrm>
              <a:off x="906711" y="4522458"/>
              <a:ext cx="13366" cy="29239"/>
            </a:xfrm>
            <a:custGeom>
              <a:avLst/>
              <a:gdLst>
                <a:gd name="connsiteX0" fmla="*/ 0 w 13366"/>
                <a:gd name="connsiteY0" fmla="*/ 0 h 29239"/>
                <a:gd name="connsiteX1" fmla="*/ 13367 w 13366"/>
                <a:gd name="connsiteY1" fmla="*/ 29240 h 2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9239">
                  <a:moveTo>
                    <a:pt x="0" y="0"/>
                  </a:moveTo>
                  <a:lnTo>
                    <a:pt x="13367" y="2924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1" name="Freeform: Shape 1580">
              <a:extLst>
                <a:ext uri="{FF2B5EF4-FFF2-40B4-BE49-F238E27FC236}">
                  <a16:creationId xmlns:a16="http://schemas.microsoft.com/office/drawing/2014/main" id="{657D0BC2-2DF5-410C-BF27-DDF1074CBB3E}"/>
                </a:ext>
              </a:extLst>
            </p:cNvPr>
            <p:cNvSpPr/>
            <p:nvPr/>
          </p:nvSpPr>
          <p:spPr>
            <a:xfrm>
              <a:off x="10030910" y="114846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2" name="Freeform: Shape 1581">
              <a:extLst>
                <a:ext uri="{FF2B5EF4-FFF2-40B4-BE49-F238E27FC236}">
                  <a16:creationId xmlns:a16="http://schemas.microsoft.com/office/drawing/2014/main" id="{DA903606-C6DF-4703-A7FB-DA0071C03574}"/>
                </a:ext>
              </a:extLst>
            </p:cNvPr>
            <p:cNvSpPr/>
            <p:nvPr/>
          </p:nvSpPr>
          <p:spPr>
            <a:xfrm>
              <a:off x="10254525" y="1148468"/>
              <a:ext cx="9468" cy="17265"/>
            </a:xfrm>
            <a:custGeom>
              <a:avLst/>
              <a:gdLst>
                <a:gd name="connsiteX0" fmla="*/ 0 w 9468"/>
                <a:gd name="connsiteY0" fmla="*/ 0 h 17265"/>
                <a:gd name="connsiteX1" fmla="*/ 9468 w 9468"/>
                <a:gd name="connsiteY1" fmla="*/ 17265 h 1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68" h="17265">
                  <a:moveTo>
                    <a:pt x="0" y="0"/>
                  </a:moveTo>
                  <a:lnTo>
                    <a:pt x="9468" y="1726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3" name="Freeform: Shape 1582">
              <a:extLst>
                <a:ext uri="{FF2B5EF4-FFF2-40B4-BE49-F238E27FC236}">
                  <a16:creationId xmlns:a16="http://schemas.microsoft.com/office/drawing/2014/main" id="{36163BA9-2053-41FB-A341-28096E2AFFD3}"/>
                </a:ext>
              </a:extLst>
            </p:cNvPr>
            <p:cNvSpPr/>
            <p:nvPr/>
          </p:nvSpPr>
          <p:spPr>
            <a:xfrm>
              <a:off x="7065998" y="477624"/>
              <a:ext cx="13366" cy="26733"/>
            </a:xfrm>
            <a:custGeom>
              <a:avLst/>
              <a:gdLst>
                <a:gd name="connsiteX0" fmla="*/ 0 w 13366"/>
                <a:gd name="connsiteY0" fmla="*/ 0 h 26733"/>
                <a:gd name="connsiteX1" fmla="*/ 13367 w 13366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6733">
                  <a:moveTo>
                    <a:pt x="0" y="0"/>
                  </a:moveTo>
                  <a:lnTo>
                    <a:pt x="13367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5" name="Freeform: Shape 1584">
              <a:extLst>
                <a:ext uri="{FF2B5EF4-FFF2-40B4-BE49-F238E27FC236}">
                  <a16:creationId xmlns:a16="http://schemas.microsoft.com/office/drawing/2014/main" id="{00935859-6395-439F-9B21-9D1D77CABE9C}"/>
                </a:ext>
              </a:extLst>
            </p:cNvPr>
            <p:cNvSpPr/>
            <p:nvPr/>
          </p:nvSpPr>
          <p:spPr>
            <a:xfrm>
              <a:off x="9113895" y="699567"/>
              <a:ext cx="13366" cy="23948"/>
            </a:xfrm>
            <a:custGeom>
              <a:avLst/>
              <a:gdLst>
                <a:gd name="connsiteX0" fmla="*/ 0 w 13366"/>
                <a:gd name="connsiteY0" fmla="*/ 0 h 23948"/>
                <a:gd name="connsiteX1" fmla="*/ 13367 w 13366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66" h="23948">
                  <a:moveTo>
                    <a:pt x="0" y="0"/>
                  </a:moveTo>
                  <a:lnTo>
                    <a:pt x="13367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6" name="Freeform: Shape 1585">
              <a:extLst>
                <a:ext uri="{FF2B5EF4-FFF2-40B4-BE49-F238E27FC236}">
                  <a16:creationId xmlns:a16="http://schemas.microsoft.com/office/drawing/2014/main" id="{3EA0D7CB-E462-43EA-8FAA-334AC262E397}"/>
                </a:ext>
              </a:extLst>
            </p:cNvPr>
            <p:cNvSpPr/>
            <p:nvPr/>
          </p:nvSpPr>
          <p:spPr>
            <a:xfrm>
              <a:off x="676691" y="4971358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7" name="Freeform: Shape 1586">
              <a:extLst>
                <a:ext uri="{FF2B5EF4-FFF2-40B4-BE49-F238E27FC236}">
                  <a16:creationId xmlns:a16="http://schemas.microsoft.com/office/drawing/2014/main" id="{C0BE6AC5-DFC3-464E-9041-EF142629BFCC}"/>
                </a:ext>
              </a:extLst>
            </p:cNvPr>
            <p:cNvSpPr/>
            <p:nvPr/>
          </p:nvSpPr>
          <p:spPr>
            <a:xfrm>
              <a:off x="676691" y="4746908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8" name="Freeform: Shape 1587">
              <a:extLst>
                <a:ext uri="{FF2B5EF4-FFF2-40B4-BE49-F238E27FC236}">
                  <a16:creationId xmlns:a16="http://schemas.microsoft.com/office/drawing/2014/main" id="{B4D6878B-F05F-43D3-B8C6-27DC9160925A}"/>
                </a:ext>
              </a:extLst>
            </p:cNvPr>
            <p:cNvSpPr/>
            <p:nvPr/>
          </p:nvSpPr>
          <p:spPr>
            <a:xfrm>
              <a:off x="9343915" y="693998"/>
              <a:ext cx="7797" cy="24227"/>
            </a:xfrm>
            <a:custGeom>
              <a:avLst/>
              <a:gdLst>
                <a:gd name="connsiteX0" fmla="*/ 0 w 7797"/>
                <a:gd name="connsiteY0" fmla="*/ 0 h 24227"/>
                <a:gd name="connsiteX1" fmla="*/ 7797 w 7797"/>
                <a:gd name="connsiteY1" fmla="*/ 24227 h 2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97" h="24227">
                  <a:moveTo>
                    <a:pt x="0" y="0"/>
                  </a:moveTo>
                  <a:lnTo>
                    <a:pt x="7797" y="2422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C6977646-37FA-46A7-877D-5986C460FAB9}"/>
                </a:ext>
              </a:extLst>
            </p:cNvPr>
            <p:cNvSpPr/>
            <p:nvPr/>
          </p:nvSpPr>
          <p:spPr>
            <a:xfrm>
              <a:off x="9572542" y="697897"/>
              <a:ext cx="3898" cy="16429"/>
            </a:xfrm>
            <a:custGeom>
              <a:avLst/>
              <a:gdLst>
                <a:gd name="connsiteX0" fmla="*/ 0 w 3898"/>
                <a:gd name="connsiteY0" fmla="*/ 0 h 16429"/>
                <a:gd name="connsiteX1" fmla="*/ 3898 w 3898"/>
                <a:gd name="connsiteY1" fmla="*/ 16430 h 16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6429">
                  <a:moveTo>
                    <a:pt x="0" y="0"/>
                  </a:moveTo>
                  <a:lnTo>
                    <a:pt x="3898" y="1643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0" name="Freeform: Shape 1589">
              <a:extLst>
                <a:ext uri="{FF2B5EF4-FFF2-40B4-BE49-F238E27FC236}">
                  <a16:creationId xmlns:a16="http://schemas.microsoft.com/office/drawing/2014/main" id="{E8B74D7A-98E9-4D3C-9534-4609B190CA75}"/>
                </a:ext>
              </a:extLst>
            </p:cNvPr>
            <p:cNvSpPr/>
            <p:nvPr/>
          </p:nvSpPr>
          <p:spPr>
            <a:xfrm>
              <a:off x="9799777" y="699011"/>
              <a:ext cx="3063" cy="8075"/>
            </a:xfrm>
            <a:custGeom>
              <a:avLst/>
              <a:gdLst>
                <a:gd name="connsiteX0" fmla="*/ 0 w 3063"/>
                <a:gd name="connsiteY0" fmla="*/ 0 h 8075"/>
                <a:gd name="connsiteX1" fmla="*/ 3063 w 3063"/>
                <a:gd name="connsiteY1" fmla="*/ 8076 h 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8075">
                  <a:moveTo>
                    <a:pt x="0" y="0"/>
                  </a:moveTo>
                  <a:lnTo>
                    <a:pt x="3063" y="8076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1" name="Freeform: Shape 1590">
              <a:extLst>
                <a:ext uri="{FF2B5EF4-FFF2-40B4-BE49-F238E27FC236}">
                  <a16:creationId xmlns:a16="http://schemas.microsoft.com/office/drawing/2014/main" id="{244923D5-8388-4979-940F-31915A1373A9}"/>
                </a:ext>
              </a:extLst>
            </p:cNvPr>
            <p:cNvSpPr/>
            <p:nvPr/>
          </p:nvSpPr>
          <p:spPr>
            <a:xfrm>
              <a:off x="10025619" y="696504"/>
              <a:ext cx="1670" cy="5847"/>
            </a:xfrm>
            <a:custGeom>
              <a:avLst/>
              <a:gdLst>
                <a:gd name="connsiteX0" fmla="*/ 0 w 1670"/>
                <a:gd name="connsiteY0" fmla="*/ 0 h 5847"/>
                <a:gd name="connsiteX1" fmla="*/ 1671 w 1670"/>
                <a:gd name="connsiteY1" fmla="*/ 5848 h 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0" h="5847">
                  <a:moveTo>
                    <a:pt x="0" y="0"/>
                  </a:moveTo>
                  <a:lnTo>
                    <a:pt x="1671" y="584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2" name="Freeform: Shape 1591">
              <a:extLst>
                <a:ext uri="{FF2B5EF4-FFF2-40B4-BE49-F238E27FC236}">
                  <a16:creationId xmlns:a16="http://schemas.microsoft.com/office/drawing/2014/main" id="{BA2FEC64-6929-40D3-B695-EEAC3EF7B34C}"/>
                </a:ext>
              </a:extLst>
            </p:cNvPr>
            <p:cNvSpPr/>
            <p:nvPr/>
          </p:nvSpPr>
          <p:spPr>
            <a:xfrm>
              <a:off x="906711" y="4073280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3" name="Freeform: Shape 1592">
              <a:extLst>
                <a:ext uri="{FF2B5EF4-FFF2-40B4-BE49-F238E27FC236}">
                  <a16:creationId xmlns:a16="http://schemas.microsoft.com/office/drawing/2014/main" id="{2D270AA7-B04F-4397-A96E-66227D6B3748}"/>
                </a:ext>
              </a:extLst>
            </p:cNvPr>
            <p:cNvSpPr/>
            <p:nvPr/>
          </p:nvSpPr>
          <p:spPr>
            <a:xfrm>
              <a:off x="676691" y="4522458"/>
              <a:ext cx="10860" cy="21164"/>
            </a:xfrm>
            <a:custGeom>
              <a:avLst/>
              <a:gdLst>
                <a:gd name="connsiteX0" fmla="*/ 0 w 10860"/>
                <a:gd name="connsiteY0" fmla="*/ 0 h 21164"/>
                <a:gd name="connsiteX1" fmla="*/ 10860 w 10860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164">
                  <a:moveTo>
                    <a:pt x="0" y="0"/>
                  </a:moveTo>
                  <a:lnTo>
                    <a:pt x="10860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FA4A5728-DDC8-4263-BD86-36A6E766DF6E}"/>
                </a:ext>
              </a:extLst>
            </p:cNvPr>
            <p:cNvSpPr/>
            <p:nvPr/>
          </p:nvSpPr>
          <p:spPr>
            <a:xfrm>
              <a:off x="1133945" y="3626886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6" name="Freeform: Shape 1595">
              <a:extLst>
                <a:ext uri="{FF2B5EF4-FFF2-40B4-BE49-F238E27FC236}">
                  <a16:creationId xmlns:a16="http://schemas.microsoft.com/office/drawing/2014/main" id="{9843F603-AA4E-4447-A05B-9DEA725132F1}"/>
                </a:ext>
              </a:extLst>
            </p:cNvPr>
            <p:cNvSpPr/>
            <p:nvPr/>
          </p:nvSpPr>
          <p:spPr>
            <a:xfrm>
              <a:off x="7745196" y="474839"/>
              <a:ext cx="10582" cy="21442"/>
            </a:xfrm>
            <a:custGeom>
              <a:avLst/>
              <a:gdLst>
                <a:gd name="connsiteX0" fmla="*/ 0 w 10582"/>
                <a:gd name="connsiteY0" fmla="*/ 0 h 21442"/>
                <a:gd name="connsiteX1" fmla="*/ 10582 w 10582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82" h="21442">
                  <a:moveTo>
                    <a:pt x="0" y="0"/>
                  </a:moveTo>
                  <a:lnTo>
                    <a:pt x="10582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7" name="Freeform: Shape 1596">
              <a:extLst>
                <a:ext uri="{FF2B5EF4-FFF2-40B4-BE49-F238E27FC236}">
                  <a16:creationId xmlns:a16="http://schemas.microsoft.com/office/drawing/2014/main" id="{3870A383-344A-4EA0-B5A6-8AAF8307B5EB}"/>
                </a:ext>
              </a:extLst>
            </p:cNvPr>
            <p:cNvSpPr/>
            <p:nvPr/>
          </p:nvSpPr>
          <p:spPr>
            <a:xfrm>
              <a:off x="7517126" y="475396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1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364A5E91-41BE-4FB1-AA16-A5268AB70026}"/>
                </a:ext>
              </a:extLst>
            </p:cNvPr>
            <p:cNvSpPr/>
            <p:nvPr/>
          </p:nvSpPr>
          <p:spPr>
            <a:xfrm>
              <a:off x="7974937" y="469548"/>
              <a:ext cx="8075" cy="23948"/>
            </a:xfrm>
            <a:custGeom>
              <a:avLst/>
              <a:gdLst>
                <a:gd name="connsiteX0" fmla="*/ 0 w 8075"/>
                <a:gd name="connsiteY0" fmla="*/ 0 h 23948"/>
                <a:gd name="connsiteX1" fmla="*/ 8076 w 8075"/>
                <a:gd name="connsiteY1" fmla="*/ 23949 h 2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3948">
                  <a:moveTo>
                    <a:pt x="0" y="0"/>
                  </a:moveTo>
                  <a:lnTo>
                    <a:pt x="8076" y="2394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9" name="Freeform: Shape 1598">
              <a:extLst>
                <a:ext uri="{FF2B5EF4-FFF2-40B4-BE49-F238E27FC236}">
                  <a16:creationId xmlns:a16="http://schemas.microsoft.com/office/drawing/2014/main" id="{C7AEDA1C-FC1A-4ABC-BC8C-553989A14C7A}"/>
                </a:ext>
              </a:extLst>
            </p:cNvPr>
            <p:cNvSpPr/>
            <p:nvPr/>
          </p:nvSpPr>
          <p:spPr>
            <a:xfrm>
              <a:off x="906711" y="3399651"/>
              <a:ext cx="5291" cy="21164"/>
            </a:xfrm>
            <a:custGeom>
              <a:avLst/>
              <a:gdLst>
                <a:gd name="connsiteX0" fmla="*/ 0 w 5291"/>
                <a:gd name="connsiteY0" fmla="*/ 0 h 21164"/>
                <a:gd name="connsiteX1" fmla="*/ 5291 w 5291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164">
                  <a:moveTo>
                    <a:pt x="0" y="0"/>
                  </a:moveTo>
                  <a:lnTo>
                    <a:pt x="5291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0" name="Freeform: Shape 1599">
              <a:extLst>
                <a:ext uri="{FF2B5EF4-FFF2-40B4-BE49-F238E27FC236}">
                  <a16:creationId xmlns:a16="http://schemas.microsoft.com/office/drawing/2014/main" id="{15D9066F-5D87-48EB-9CB4-86286E20DF71}"/>
                </a:ext>
              </a:extLst>
            </p:cNvPr>
            <p:cNvSpPr/>
            <p:nvPr/>
          </p:nvSpPr>
          <p:spPr>
            <a:xfrm>
              <a:off x="675856" y="3399651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E7606E52-820D-457E-A263-BBFBD8A3E63C}"/>
                </a:ext>
              </a:extLst>
            </p:cNvPr>
            <p:cNvSpPr/>
            <p:nvPr/>
          </p:nvSpPr>
          <p:spPr>
            <a:xfrm>
              <a:off x="676691" y="4297730"/>
              <a:ext cx="5569" cy="21442"/>
            </a:xfrm>
            <a:custGeom>
              <a:avLst/>
              <a:gdLst>
                <a:gd name="connsiteX0" fmla="*/ 0 w 5569"/>
                <a:gd name="connsiteY0" fmla="*/ 0 h 21442"/>
                <a:gd name="connsiteX1" fmla="*/ 5569 w 5569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442">
                  <a:moveTo>
                    <a:pt x="0" y="0"/>
                  </a:moveTo>
                  <a:lnTo>
                    <a:pt x="5569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2" name="Freeform: Shape 1601">
              <a:extLst>
                <a:ext uri="{FF2B5EF4-FFF2-40B4-BE49-F238E27FC236}">
                  <a16:creationId xmlns:a16="http://schemas.microsoft.com/office/drawing/2014/main" id="{B7135F4C-B443-4E37-93A3-FA5C582D1A64}"/>
                </a:ext>
              </a:extLst>
            </p:cNvPr>
            <p:cNvSpPr/>
            <p:nvPr/>
          </p:nvSpPr>
          <p:spPr>
            <a:xfrm>
              <a:off x="446393" y="4750528"/>
              <a:ext cx="4177" cy="13645"/>
            </a:xfrm>
            <a:custGeom>
              <a:avLst/>
              <a:gdLst>
                <a:gd name="connsiteX0" fmla="*/ 0 w 4177"/>
                <a:gd name="connsiteY0" fmla="*/ 0 h 13645"/>
                <a:gd name="connsiteX1" fmla="*/ 4177 w 4177"/>
                <a:gd name="connsiteY1" fmla="*/ 13645 h 1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7" h="13645">
                  <a:moveTo>
                    <a:pt x="0" y="0"/>
                  </a:moveTo>
                  <a:lnTo>
                    <a:pt x="4177" y="13645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3" name="Freeform: Shape 1602">
              <a:extLst>
                <a:ext uri="{FF2B5EF4-FFF2-40B4-BE49-F238E27FC236}">
                  <a16:creationId xmlns:a16="http://schemas.microsoft.com/office/drawing/2014/main" id="{EF685315-E2AC-46C3-83D7-B15FAC9E7B62}"/>
                </a:ext>
              </a:extLst>
            </p:cNvPr>
            <p:cNvSpPr/>
            <p:nvPr/>
          </p:nvSpPr>
          <p:spPr>
            <a:xfrm>
              <a:off x="446393" y="4525800"/>
              <a:ext cx="5291" cy="10860"/>
            </a:xfrm>
            <a:custGeom>
              <a:avLst/>
              <a:gdLst>
                <a:gd name="connsiteX0" fmla="*/ 0 w 5291"/>
                <a:gd name="connsiteY0" fmla="*/ 0 h 10860"/>
                <a:gd name="connsiteX1" fmla="*/ 5291 w 5291"/>
                <a:gd name="connsiteY1" fmla="*/ 10861 h 1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0860">
                  <a:moveTo>
                    <a:pt x="0" y="0"/>
                  </a:moveTo>
                  <a:lnTo>
                    <a:pt x="5291" y="1086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63638C0E-C596-49F4-BD13-2580CB5D1118}"/>
                </a:ext>
              </a:extLst>
            </p:cNvPr>
            <p:cNvSpPr/>
            <p:nvPr/>
          </p:nvSpPr>
          <p:spPr>
            <a:xfrm>
              <a:off x="446393" y="4301350"/>
              <a:ext cx="2784" cy="10582"/>
            </a:xfrm>
            <a:custGeom>
              <a:avLst/>
              <a:gdLst>
                <a:gd name="connsiteX0" fmla="*/ 0 w 2784"/>
                <a:gd name="connsiteY0" fmla="*/ 0 h 10582"/>
                <a:gd name="connsiteX1" fmla="*/ 2785 w 2784"/>
                <a:gd name="connsiteY1" fmla="*/ 10582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0582">
                  <a:moveTo>
                    <a:pt x="0" y="0"/>
                  </a:moveTo>
                  <a:lnTo>
                    <a:pt x="2785" y="1058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5" name="Freeform: Shape 1604">
              <a:extLst>
                <a:ext uri="{FF2B5EF4-FFF2-40B4-BE49-F238E27FC236}">
                  <a16:creationId xmlns:a16="http://schemas.microsoft.com/office/drawing/2014/main" id="{0E66C2F0-7241-4C1E-95CA-CCE9C042351B}"/>
                </a:ext>
              </a:extLst>
            </p:cNvPr>
            <p:cNvSpPr/>
            <p:nvPr/>
          </p:nvSpPr>
          <p:spPr>
            <a:xfrm>
              <a:off x="445836" y="5649721"/>
              <a:ext cx="10860" cy="26733"/>
            </a:xfrm>
            <a:custGeom>
              <a:avLst/>
              <a:gdLst>
                <a:gd name="connsiteX0" fmla="*/ 0 w 10860"/>
                <a:gd name="connsiteY0" fmla="*/ 0 h 26733"/>
                <a:gd name="connsiteX1" fmla="*/ 10860 w 10860"/>
                <a:gd name="connsiteY1" fmla="*/ 26733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6733">
                  <a:moveTo>
                    <a:pt x="0" y="0"/>
                  </a:moveTo>
                  <a:lnTo>
                    <a:pt x="10860" y="2673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6" name="Freeform: Shape 1605">
              <a:extLst>
                <a:ext uri="{FF2B5EF4-FFF2-40B4-BE49-F238E27FC236}">
                  <a16:creationId xmlns:a16="http://schemas.microsoft.com/office/drawing/2014/main" id="{C6972983-584C-4495-A6B9-8AA8A08DBA92}"/>
                </a:ext>
              </a:extLst>
            </p:cNvPr>
            <p:cNvSpPr/>
            <p:nvPr/>
          </p:nvSpPr>
          <p:spPr>
            <a:xfrm>
              <a:off x="445836" y="5424992"/>
              <a:ext cx="8075" cy="26733"/>
            </a:xfrm>
            <a:custGeom>
              <a:avLst/>
              <a:gdLst>
                <a:gd name="connsiteX0" fmla="*/ 0 w 8075"/>
                <a:gd name="connsiteY0" fmla="*/ 0 h 26733"/>
                <a:gd name="connsiteX1" fmla="*/ 8076 w 8075"/>
                <a:gd name="connsiteY1" fmla="*/ 26734 h 2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6733">
                  <a:moveTo>
                    <a:pt x="0" y="0"/>
                  </a:moveTo>
                  <a:lnTo>
                    <a:pt x="8076" y="2673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7" name="Freeform: Shape 1606">
              <a:extLst>
                <a:ext uri="{FF2B5EF4-FFF2-40B4-BE49-F238E27FC236}">
                  <a16:creationId xmlns:a16="http://schemas.microsoft.com/office/drawing/2014/main" id="{D204A299-1FE0-42F1-AD54-6D9AE245AC67}"/>
                </a:ext>
              </a:extLst>
            </p:cNvPr>
            <p:cNvSpPr/>
            <p:nvPr/>
          </p:nvSpPr>
          <p:spPr>
            <a:xfrm>
              <a:off x="445836" y="5200542"/>
              <a:ext cx="10860" cy="21442"/>
            </a:xfrm>
            <a:custGeom>
              <a:avLst/>
              <a:gdLst>
                <a:gd name="connsiteX0" fmla="*/ 0 w 10860"/>
                <a:gd name="connsiteY0" fmla="*/ 0 h 21442"/>
                <a:gd name="connsiteX1" fmla="*/ 1086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0" y="0"/>
                  </a:moveTo>
                  <a:lnTo>
                    <a:pt x="1086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8" name="Freeform: Shape 1607">
              <a:extLst>
                <a:ext uri="{FF2B5EF4-FFF2-40B4-BE49-F238E27FC236}">
                  <a16:creationId xmlns:a16="http://schemas.microsoft.com/office/drawing/2014/main" id="{8F7E2C5E-4174-4D27-8827-52AED73AE52C}"/>
                </a:ext>
              </a:extLst>
            </p:cNvPr>
            <p:cNvSpPr/>
            <p:nvPr/>
          </p:nvSpPr>
          <p:spPr>
            <a:xfrm>
              <a:off x="445836" y="4976092"/>
              <a:ext cx="5569" cy="21164"/>
            </a:xfrm>
            <a:custGeom>
              <a:avLst/>
              <a:gdLst>
                <a:gd name="connsiteX0" fmla="*/ 0 w 5569"/>
                <a:gd name="connsiteY0" fmla="*/ 0 h 21164"/>
                <a:gd name="connsiteX1" fmla="*/ 5569 w 5569"/>
                <a:gd name="connsiteY1" fmla="*/ 2116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21164">
                  <a:moveTo>
                    <a:pt x="0" y="0"/>
                  </a:moveTo>
                  <a:lnTo>
                    <a:pt x="5569" y="2116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09" name="Freeform: Shape 1608">
              <a:extLst>
                <a:ext uri="{FF2B5EF4-FFF2-40B4-BE49-F238E27FC236}">
                  <a16:creationId xmlns:a16="http://schemas.microsoft.com/office/drawing/2014/main" id="{FA469C81-FBCC-49D3-8095-6F7FED0C0808}"/>
                </a:ext>
              </a:extLst>
            </p:cNvPr>
            <p:cNvSpPr/>
            <p:nvPr/>
          </p:nvSpPr>
          <p:spPr>
            <a:xfrm>
              <a:off x="8659426" y="469548"/>
              <a:ext cx="8075" cy="21442"/>
            </a:xfrm>
            <a:custGeom>
              <a:avLst/>
              <a:gdLst>
                <a:gd name="connsiteX0" fmla="*/ 0 w 8075"/>
                <a:gd name="connsiteY0" fmla="*/ 0 h 21442"/>
                <a:gd name="connsiteX1" fmla="*/ 8076 w 8075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21442">
                  <a:moveTo>
                    <a:pt x="0" y="0"/>
                  </a:moveTo>
                  <a:lnTo>
                    <a:pt x="8076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0" name="Freeform: Shape 1609">
              <a:extLst>
                <a:ext uri="{FF2B5EF4-FFF2-40B4-BE49-F238E27FC236}">
                  <a16:creationId xmlns:a16="http://schemas.microsoft.com/office/drawing/2014/main" id="{2D45F04E-38DD-41FC-9E70-CBAFBE4EEB27}"/>
                </a:ext>
              </a:extLst>
            </p:cNvPr>
            <p:cNvSpPr/>
            <p:nvPr/>
          </p:nvSpPr>
          <p:spPr>
            <a:xfrm>
              <a:off x="8888331" y="474282"/>
              <a:ext cx="5012" cy="16708"/>
            </a:xfrm>
            <a:custGeom>
              <a:avLst/>
              <a:gdLst>
                <a:gd name="connsiteX0" fmla="*/ 0 w 5012"/>
                <a:gd name="connsiteY0" fmla="*/ 0 h 16708"/>
                <a:gd name="connsiteX1" fmla="*/ 5013 w 5012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12" h="16708">
                  <a:moveTo>
                    <a:pt x="0" y="0"/>
                  </a:moveTo>
                  <a:lnTo>
                    <a:pt x="5013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753335D7-B164-43B1-B65B-41A45FF4ABA9}"/>
                </a:ext>
              </a:extLst>
            </p:cNvPr>
            <p:cNvSpPr/>
            <p:nvPr/>
          </p:nvSpPr>
          <p:spPr>
            <a:xfrm>
              <a:off x="9115566" y="475117"/>
              <a:ext cx="3341" cy="11138"/>
            </a:xfrm>
            <a:custGeom>
              <a:avLst/>
              <a:gdLst>
                <a:gd name="connsiteX0" fmla="*/ 0 w 3341"/>
                <a:gd name="connsiteY0" fmla="*/ 0 h 11138"/>
                <a:gd name="connsiteX1" fmla="*/ 3342 w 3341"/>
                <a:gd name="connsiteY1" fmla="*/ 11139 h 11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1" h="11138">
                  <a:moveTo>
                    <a:pt x="0" y="0"/>
                  </a:moveTo>
                  <a:lnTo>
                    <a:pt x="3342" y="11139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435B928C-8242-4EB1-A6F3-2722FECCBC1D}"/>
                </a:ext>
              </a:extLst>
            </p:cNvPr>
            <p:cNvSpPr/>
            <p:nvPr/>
          </p:nvSpPr>
          <p:spPr>
            <a:xfrm>
              <a:off x="906711" y="3848551"/>
              <a:ext cx="5291" cy="21442"/>
            </a:xfrm>
            <a:custGeom>
              <a:avLst/>
              <a:gdLst>
                <a:gd name="connsiteX0" fmla="*/ 0 w 5291"/>
                <a:gd name="connsiteY0" fmla="*/ 0 h 21442"/>
                <a:gd name="connsiteX1" fmla="*/ 5291 w 5291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0" y="0"/>
                  </a:moveTo>
                  <a:lnTo>
                    <a:pt x="5291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55B859C7-6538-44EC-82D8-F9ADBF20BD3B}"/>
                </a:ext>
              </a:extLst>
            </p:cNvPr>
            <p:cNvSpPr/>
            <p:nvPr/>
          </p:nvSpPr>
          <p:spPr>
            <a:xfrm>
              <a:off x="906711" y="36241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9A036F5A-2A9E-4CAE-83FC-E226BFD75B57}"/>
                </a:ext>
              </a:extLst>
            </p:cNvPr>
            <p:cNvSpPr/>
            <p:nvPr/>
          </p:nvSpPr>
          <p:spPr>
            <a:xfrm>
              <a:off x="674742" y="3621038"/>
              <a:ext cx="3898" cy="11974"/>
            </a:xfrm>
            <a:custGeom>
              <a:avLst/>
              <a:gdLst>
                <a:gd name="connsiteX0" fmla="*/ 0 w 3898"/>
                <a:gd name="connsiteY0" fmla="*/ 0 h 11974"/>
                <a:gd name="connsiteX1" fmla="*/ 3899 w 3898"/>
                <a:gd name="connsiteY1" fmla="*/ 11974 h 11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98" h="11974">
                  <a:moveTo>
                    <a:pt x="0" y="0"/>
                  </a:moveTo>
                  <a:lnTo>
                    <a:pt x="3899" y="11974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444D034E-2054-4EF7-AF22-DD246CF7B22D}"/>
                </a:ext>
              </a:extLst>
            </p:cNvPr>
            <p:cNvSpPr/>
            <p:nvPr/>
          </p:nvSpPr>
          <p:spPr>
            <a:xfrm>
              <a:off x="447229" y="3175201"/>
              <a:ext cx="5291" cy="16708"/>
            </a:xfrm>
            <a:custGeom>
              <a:avLst/>
              <a:gdLst>
                <a:gd name="connsiteX0" fmla="*/ 0 w 5291"/>
                <a:gd name="connsiteY0" fmla="*/ 0 h 16708"/>
                <a:gd name="connsiteX1" fmla="*/ 5291 w 5291"/>
                <a:gd name="connsiteY1" fmla="*/ 16708 h 16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6708">
                  <a:moveTo>
                    <a:pt x="0" y="0"/>
                  </a:moveTo>
                  <a:lnTo>
                    <a:pt x="5291" y="1670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4EA98CCC-EECD-49C5-AD1E-5C9E51878F1E}"/>
                </a:ext>
              </a:extLst>
            </p:cNvPr>
            <p:cNvSpPr/>
            <p:nvPr/>
          </p:nvSpPr>
          <p:spPr>
            <a:xfrm>
              <a:off x="10028125" y="453396"/>
              <a:ext cx="5291" cy="21442"/>
            </a:xfrm>
            <a:custGeom>
              <a:avLst/>
              <a:gdLst>
                <a:gd name="connsiteX0" fmla="*/ 5291 w 5291"/>
                <a:gd name="connsiteY0" fmla="*/ 0 h 21442"/>
                <a:gd name="connsiteX1" fmla="*/ 0 w 5291"/>
                <a:gd name="connsiteY1" fmla="*/ 21443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21442">
                  <a:moveTo>
                    <a:pt x="5291" y="0"/>
                  </a:moveTo>
                  <a:lnTo>
                    <a:pt x="0" y="2144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70F4536D-EEB5-4922-8E0B-5373D2B3E0CB}"/>
                </a:ext>
              </a:extLst>
            </p:cNvPr>
            <p:cNvSpPr/>
            <p:nvPr/>
          </p:nvSpPr>
          <p:spPr>
            <a:xfrm>
              <a:off x="9798384" y="461751"/>
              <a:ext cx="1949" cy="15873"/>
            </a:xfrm>
            <a:custGeom>
              <a:avLst/>
              <a:gdLst>
                <a:gd name="connsiteX0" fmla="*/ 1949 w 1949"/>
                <a:gd name="connsiteY0" fmla="*/ 0 h 15873"/>
                <a:gd name="connsiteX1" fmla="*/ 0 w 1949"/>
                <a:gd name="connsiteY1" fmla="*/ 1587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9" h="15873">
                  <a:moveTo>
                    <a:pt x="1949" y="0"/>
                  </a:moveTo>
                  <a:lnTo>
                    <a:pt x="0" y="15873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DFDF1826-9B3B-4D62-95F1-F9C439177EE7}"/>
                </a:ext>
              </a:extLst>
            </p:cNvPr>
            <p:cNvSpPr/>
            <p:nvPr/>
          </p:nvSpPr>
          <p:spPr>
            <a:xfrm>
              <a:off x="10255360" y="450890"/>
              <a:ext cx="10860" cy="21442"/>
            </a:xfrm>
            <a:custGeom>
              <a:avLst/>
              <a:gdLst>
                <a:gd name="connsiteX0" fmla="*/ 10861 w 10860"/>
                <a:gd name="connsiteY0" fmla="*/ 0 h 21442"/>
                <a:gd name="connsiteX1" fmla="*/ 0 w 10860"/>
                <a:gd name="connsiteY1" fmla="*/ 21442 h 21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60" h="21442">
                  <a:moveTo>
                    <a:pt x="10861" y="0"/>
                  </a:moveTo>
                  <a:lnTo>
                    <a:pt x="0" y="21442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A1CE144-2C48-47BA-B4D8-6362C5AECAD3}"/>
                </a:ext>
              </a:extLst>
            </p:cNvPr>
            <p:cNvSpPr/>
            <p:nvPr/>
          </p:nvSpPr>
          <p:spPr>
            <a:xfrm>
              <a:off x="10255638" y="687593"/>
              <a:ext cx="2784" cy="13366"/>
            </a:xfrm>
            <a:custGeom>
              <a:avLst/>
              <a:gdLst>
                <a:gd name="connsiteX0" fmla="*/ 2785 w 2784"/>
                <a:gd name="connsiteY0" fmla="*/ 0 h 13366"/>
                <a:gd name="connsiteX1" fmla="*/ 0 w 2784"/>
                <a:gd name="connsiteY1" fmla="*/ 13367 h 1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84" h="13366">
                  <a:moveTo>
                    <a:pt x="2785" y="0"/>
                  </a:moveTo>
                  <a:lnTo>
                    <a:pt x="0" y="13367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E7C95477-2D10-4698-A93B-3FE988F99B9B}"/>
                </a:ext>
              </a:extLst>
            </p:cNvPr>
            <p:cNvSpPr/>
            <p:nvPr/>
          </p:nvSpPr>
          <p:spPr>
            <a:xfrm>
              <a:off x="8432191" y="477624"/>
              <a:ext cx="8075" cy="18657"/>
            </a:xfrm>
            <a:custGeom>
              <a:avLst/>
              <a:gdLst>
                <a:gd name="connsiteX0" fmla="*/ 0 w 8075"/>
                <a:gd name="connsiteY0" fmla="*/ 0 h 18657"/>
                <a:gd name="connsiteX1" fmla="*/ 8075 w 8075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75" h="18657">
                  <a:moveTo>
                    <a:pt x="0" y="0"/>
                  </a:moveTo>
                  <a:lnTo>
                    <a:pt x="8075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FC9BE107-7C2D-4E32-A4C5-5452AA657237}"/>
                </a:ext>
              </a:extLst>
            </p:cNvPr>
            <p:cNvSpPr/>
            <p:nvPr/>
          </p:nvSpPr>
          <p:spPr>
            <a:xfrm>
              <a:off x="9800890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FD8CC4DE-9910-497B-BC92-C1663E8E3622}"/>
                </a:ext>
              </a:extLst>
            </p:cNvPr>
            <p:cNvSpPr/>
            <p:nvPr/>
          </p:nvSpPr>
          <p:spPr>
            <a:xfrm>
              <a:off x="10030353" y="926802"/>
              <a:ext cx="5291" cy="18657"/>
            </a:xfrm>
            <a:custGeom>
              <a:avLst/>
              <a:gdLst>
                <a:gd name="connsiteX0" fmla="*/ 0 w 5291"/>
                <a:gd name="connsiteY0" fmla="*/ 0 h 18657"/>
                <a:gd name="connsiteX1" fmla="*/ 5291 w 5291"/>
                <a:gd name="connsiteY1" fmla="*/ 18658 h 1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18657">
                  <a:moveTo>
                    <a:pt x="0" y="0"/>
                  </a:moveTo>
                  <a:lnTo>
                    <a:pt x="5291" y="1865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B491CB0E-FE65-4940-8E01-B2E89CDBD74C}"/>
                </a:ext>
              </a:extLst>
            </p:cNvPr>
            <p:cNvSpPr/>
            <p:nvPr/>
          </p:nvSpPr>
          <p:spPr>
            <a:xfrm>
              <a:off x="10256474" y="924296"/>
              <a:ext cx="3063" cy="12531"/>
            </a:xfrm>
            <a:custGeom>
              <a:avLst/>
              <a:gdLst>
                <a:gd name="connsiteX0" fmla="*/ 0 w 3063"/>
                <a:gd name="connsiteY0" fmla="*/ 0 h 12531"/>
                <a:gd name="connsiteX1" fmla="*/ 3063 w 3063"/>
                <a:gd name="connsiteY1" fmla="*/ 12531 h 12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3" h="12531">
                  <a:moveTo>
                    <a:pt x="0" y="0"/>
                  </a:moveTo>
                  <a:lnTo>
                    <a:pt x="3063" y="1253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CEAE343E-A317-4703-9427-178B89329D08}"/>
                </a:ext>
              </a:extLst>
            </p:cNvPr>
            <p:cNvSpPr/>
            <p:nvPr/>
          </p:nvSpPr>
          <p:spPr>
            <a:xfrm>
              <a:off x="676691" y="3848551"/>
              <a:ext cx="5569" cy="5569"/>
            </a:xfrm>
            <a:custGeom>
              <a:avLst/>
              <a:gdLst>
                <a:gd name="connsiteX0" fmla="*/ 0 w 5569"/>
                <a:gd name="connsiteY0" fmla="*/ 0 h 5569"/>
                <a:gd name="connsiteX1" fmla="*/ 5569 w 5569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569">
                  <a:moveTo>
                    <a:pt x="0" y="0"/>
                  </a:moveTo>
                  <a:lnTo>
                    <a:pt x="5569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2224017C-EF40-4A26-8A4F-FD53C98906E1}"/>
                </a:ext>
              </a:extLst>
            </p:cNvPr>
            <p:cNvSpPr/>
            <p:nvPr/>
          </p:nvSpPr>
          <p:spPr>
            <a:xfrm>
              <a:off x="446393" y="4071887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87B056F9-7583-4BEC-A666-7E3F09A5494F}"/>
                </a:ext>
              </a:extLst>
            </p:cNvPr>
            <p:cNvSpPr/>
            <p:nvPr/>
          </p:nvSpPr>
          <p:spPr>
            <a:xfrm>
              <a:off x="446115" y="3848551"/>
              <a:ext cx="5291" cy="5569"/>
            </a:xfrm>
            <a:custGeom>
              <a:avLst/>
              <a:gdLst>
                <a:gd name="connsiteX0" fmla="*/ 0 w 5291"/>
                <a:gd name="connsiteY0" fmla="*/ 0 h 5569"/>
                <a:gd name="connsiteX1" fmla="*/ 5291 w 5291"/>
                <a:gd name="connsiteY1" fmla="*/ 5570 h 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569">
                  <a:moveTo>
                    <a:pt x="0" y="0"/>
                  </a:moveTo>
                  <a:lnTo>
                    <a:pt x="5291" y="5570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71357D3-2763-4CA5-BD1F-10F1E1814D33}"/>
                </a:ext>
              </a:extLst>
            </p:cNvPr>
            <p:cNvSpPr/>
            <p:nvPr/>
          </p:nvSpPr>
          <p:spPr>
            <a:xfrm>
              <a:off x="446115" y="3616304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4289926E-DE6F-4DDB-AABD-B51A211E2608}"/>
                </a:ext>
              </a:extLst>
            </p:cNvPr>
            <p:cNvSpPr/>
            <p:nvPr/>
          </p:nvSpPr>
          <p:spPr>
            <a:xfrm>
              <a:off x="446115" y="3396588"/>
              <a:ext cx="5291" cy="5291"/>
            </a:xfrm>
            <a:custGeom>
              <a:avLst/>
              <a:gdLst>
                <a:gd name="connsiteX0" fmla="*/ 0 w 5291"/>
                <a:gd name="connsiteY0" fmla="*/ 0 h 5291"/>
                <a:gd name="connsiteX1" fmla="*/ 5291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0" y="0"/>
                  </a:moveTo>
                  <a:lnTo>
                    <a:pt x="5291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C54A8033-787D-4816-A1EE-05BD9EB9B9A8}"/>
                </a:ext>
              </a:extLst>
            </p:cNvPr>
            <p:cNvSpPr/>
            <p:nvPr/>
          </p:nvSpPr>
          <p:spPr>
            <a:xfrm>
              <a:off x="9343915" y="474839"/>
              <a:ext cx="5291" cy="5291"/>
            </a:xfrm>
            <a:custGeom>
              <a:avLst/>
              <a:gdLst>
                <a:gd name="connsiteX0" fmla="*/ 5291 w 5291"/>
                <a:gd name="connsiteY0" fmla="*/ 0 h 5291"/>
                <a:gd name="connsiteX1" fmla="*/ 0 w 5291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91" h="5291">
                  <a:moveTo>
                    <a:pt x="5291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D85FF89C-385D-48B2-AA06-E6B1469103A3}"/>
                </a:ext>
              </a:extLst>
            </p:cNvPr>
            <p:cNvSpPr/>
            <p:nvPr/>
          </p:nvSpPr>
          <p:spPr>
            <a:xfrm>
              <a:off x="9568922" y="472054"/>
              <a:ext cx="5569" cy="5291"/>
            </a:xfrm>
            <a:custGeom>
              <a:avLst/>
              <a:gdLst>
                <a:gd name="connsiteX0" fmla="*/ 5569 w 5569"/>
                <a:gd name="connsiteY0" fmla="*/ 0 h 5291"/>
                <a:gd name="connsiteX1" fmla="*/ 0 w 5569"/>
                <a:gd name="connsiteY1" fmla="*/ 5291 h 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69" h="5291">
                  <a:moveTo>
                    <a:pt x="5569" y="0"/>
                  </a:moveTo>
                  <a:lnTo>
                    <a:pt x="0" y="5291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9E755024-FD2F-45D3-85EE-3097C9F1E538}"/>
                </a:ext>
              </a:extLst>
            </p:cNvPr>
            <p:cNvSpPr/>
            <p:nvPr/>
          </p:nvSpPr>
          <p:spPr>
            <a:xfrm>
              <a:off x="675856" y="4073280"/>
              <a:ext cx="5847" cy="13088"/>
            </a:xfrm>
            <a:custGeom>
              <a:avLst/>
              <a:gdLst>
                <a:gd name="connsiteX0" fmla="*/ 0 w 5847"/>
                <a:gd name="connsiteY0" fmla="*/ 0 h 13088"/>
                <a:gd name="connsiteX1" fmla="*/ 5848 w 5847"/>
                <a:gd name="connsiteY1" fmla="*/ 13088 h 13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47" h="13088">
                  <a:moveTo>
                    <a:pt x="0" y="0"/>
                  </a:moveTo>
                  <a:lnTo>
                    <a:pt x="5848" y="13088"/>
                  </a:lnTo>
                </a:path>
              </a:pathLst>
            </a:custGeom>
            <a:ln w="3810" cap="flat">
              <a:solidFill>
                <a:srgbClr val="423D3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7654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orient="horz" pos="4153">
          <p15:clr>
            <a:srgbClr val="FBAE40"/>
          </p15:clr>
        </p15:guide>
        <p15:guide id="3" pos="33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column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98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2BF43F0-1D2B-4BBD-8CDA-AE969353FC7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 numCol="3" spcCol="216000">
            <a:normAutofit/>
          </a:bodyPr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8962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Large text bulli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70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661227DB-12E5-4166-8092-17BA0B0B6AC7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2" y="2520704"/>
            <a:ext cx="6099928" cy="3960000"/>
          </a:xfrm>
        </p:spPr>
        <p:txBody>
          <a:bodyPr numCol="1" spcCol="21600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chemeClr val="tx1"/>
                </a:solidFill>
              </a:defRPr>
            </a:lvl1pPr>
            <a:lvl2pPr marL="28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2pPr>
            <a:lvl3pPr marL="468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3pPr>
            <a:lvl4pPr marL="6588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4pPr>
            <a:lvl5pPr marL="756000">
              <a:lnSpc>
                <a:spcPct val="100000"/>
              </a:lnSpc>
              <a:spcBef>
                <a:spcPts val="1200"/>
              </a:spcBef>
              <a:buFont typeface="Roboto" panose="02000000000000000000" pitchFamily="2" charset="0"/>
              <a:buChar char="—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522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33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1048163"/>
            <a:ext cx="6375461" cy="22572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ts val="5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8653441-488B-4F21-86DD-7AD291EF30A4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588151"/>
            <a:ext cx="2733844" cy="892552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92470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58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6" y="1048162"/>
            <a:ext cx="479142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35A95BF0-9521-42B8-B73D-B370EEB3B31F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5747425"/>
            <a:ext cx="2733844" cy="733278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79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807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1305E9F6-422D-4D86-9A17-39C459438E13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FBEECE-794B-4295-954D-CCC304EEA7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2513013"/>
            <a:ext cx="9908134" cy="3960000"/>
          </a:xfrm>
        </p:spPr>
        <p:txBody>
          <a:bodyPr numCol="3" spcCol="216000"/>
          <a:lstStyle>
            <a:lvl1pPr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lnSpc>
                <a:spcPct val="100000"/>
              </a:lnSpc>
              <a:spcBef>
                <a:spcPts val="0"/>
              </a:spcBef>
              <a:defRPr sz="750"/>
            </a:lvl2pPr>
            <a:lvl3pPr>
              <a:lnSpc>
                <a:spcPct val="100000"/>
              </a:lnSpc>
              <a:spcBef>
                <a:spcPts val="0"/>
              </a:spcBef>
              <a:defRPr sz="750"/>
            </a:lvl3pPr>
            <a:lvl4pPr>
              <a:lnSpc>
                <a:spcPct val="100000"/>
              </a:lnSpc>
              <a:spcBef>
                <a:spcPts val="0"/>
              </a:spcBef>
              <a:defRPr sz="750"/>
            </a:lvl4pPr>
            <a:lvl5pPr>
              <a:lnSpc>
                <a:spcPct val="100000"/>
              </a:lnSpc>
              <a:spcBef>
                <a:spcPts val="0"/>
              </a:spcBef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F637E26-3FAE-4D23-A526-FC43EDE78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862278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7E4892E-1001-44CD-8E7C-85F438B81B02}"/>
              </a:ext>
            </a:extLst>
          </p:cNvPr>
          <p:cNvSpPr txBox="1"/>
          <p:nvPr userDrawn="1"/>
        </p:nvSpPr>
        <p:spPr>
          <a:xfrm>
            <a:off x="396575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E378F9-3862-4074-880B-8E35CA0C2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82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E378F9-3862-4074-880B-8E35CA0C2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8E52642-78DA-4394-A667-0EB27B9C48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4E8984-2D54-4CB2-ADA5-9585066C1CAA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8B81B5-B21E-45B7-8A67-C65479A79B22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39" name="Title 38">
            <a:extLst>
              <a:ext uri="{FF2B5EF4-FFF2-40B4-BE49-F238E27FC236}">
                <a16:creationId xmlns:a16="http://schemas.microsoft.com/office/drawing/2014/main" id="{0FDE30B5-E0AC-419A-97D6-BF60C9E10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6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F05E82F-1D07-4104-9CF4-C6B56ECF4F18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7D18975A-9FC7-4EF9-956A-038F4AA86552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C9C92E-E7EF-4EA7-8641-C122F9D4AC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388" y="2037475"/>
            <a:ext cx="9391487" cy="171021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/>
            </a:lvl1pPr>
            <a:lvl2pPr>
              <a:lnSpc>
                <a:spcPts val="2400"/>
              </a:lnSpc>
              <a:defRPr sz="1600"/>
            </a:lvl2pPr>
            <a:lvl3pPr>
              <a:lnSpc>
                <a:spcPts val="2400"/>
              </a:lnSpc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A92360B-6087-4645-9983-07AF88F92A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25" y="2037475"/>
            <a:ext cx="468562" cy="16482782"/>
          </a:xfrm>
        </p:spPr>
        <p:txBody>
          <a:bodyPr>
            <a:spAutoFit/>
          </a:bodyPr>
          <a:lstStyle>
            <a:lvl1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  <a:lvl2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2pPr>
            <a:lvl3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3pPr>
            <a:lvl4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4pPr>
            <a:lvl5pPr>
              <a:lnSpc>
                <a:spcPts val="2400"/>
              </a:lnSpc>
              <a:defRPr sz="1600">
                <a:latin typeface="Roboto Mono" panose="00000009000000000000" pitchFamily="49" charset="0"/>
                <a:ea typeface="Roboto Mono" panose="00000009000000000000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7" name="Text Placeholder 26">
            <a:extLst>
              <a:ext uri="{FF2B5EF4-FFF2-40B4-BE49-F238E27FC236}">
                <a16:creationId xmlns:a16="http://schemas.microsoft.com/office/drawing/2014/main" id="{ACE9D98D-2585-4D98-AA7C-B52EE9E0B7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588806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2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82248-725E-44A4-981A-6C845D94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081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82248-725E-44A4-981A-6C845D94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3A807B-9C0F-4582-AA5C-F92C4AE46F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D54865A-4BE0-41BA-B031-06F0F18A9E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6AC057F-2BC4-4F9A-BF70-83C3AABE6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CC7A4C-6450-45F1-A3BB-CD5FC07A34C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087465-877B-4F37-B2F0-8165BE150246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2B2228-9EFA-4C62-B171-95312EBA2F0F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C8FB3CD2-7E92-4B67-B4C5-D8A1CA0D76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8A9D59-4BA8-47DB-ABAA-A717DDE1A0AB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FE5942E4-F6F0-4E1C-A153-7EF37CA7AC0B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54748FE7-25D3-4FA5-AAD4-1883DA845D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67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3CFED-B340-4332-8273-F37DE58C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1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3CFED-B340-4332-8273-F37DE58C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2FBFD-F9DB-455F-8436-1BA3C93FDD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155038C-755A-412E-9800-D821FE273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159DC5-4D3D-4661-A00A-796EF40AF442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4FCA5C-DED7-4308-8B40-81232883D9DD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8008D9-4C58-4606-B4B4-ED1B9B31A92E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5FB117B7-A3BA-479A-8CDD-C51CD2AA2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FC0775-ACE4-4B9E-A24C-058A62F55290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16 December 2020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BE9A76F-2956-49F5-B486-B5992A9C80C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01" y="2520704"/>
            <a:ext cx="9901324" cy="3960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D1B58991-5F6E-4FFA-8887-D61CAA1E37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200" y="2080198"/>
            <a:ext cx="48600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74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79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E8C38A0E-DFD8-4288-A9B4-92AFA73BF46E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218673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95200" y="2080198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DD2851D-358A-4811-8121-C8ABBDE168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000" y="6552701"/>
            <a:ext cx="9900000" cy="360000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C5CF1A-16D8-48E6-ACB1-9EEB0237D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44E7440-2D20-4AD5-BE83-F414AF22AD6E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4FB240-3ED5-4010-87F6-9604A93BFDC9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F089FB-5415-4BB7-9108-9E18D54707F3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11D594-9539-4AC2-9A40-01919B3A2964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D9856FFC-AB6E-4569-AF1D-45ABF39D74C6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C58C9AD3-CBB8-45D2-8E23-2859EFECE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3D62E1-88DC-474B-A40D-65E59427046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03225" y="2513013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9099423-2EE9-4D29-B06D-C06AA1BCFA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5898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F1296009-DC5E-411A-B1AC-452C3716F1D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763923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3D530F9-B133-4AC0-B8B0-31FE05968B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24622" y="2079432"/>
            <a:ext cx="3178800" cy="3601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4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2C9918E3-DE40-4C68-ACF1-67736D91190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32647" y="2512247"/>
            <a:ext cx="3178800" cy="3960000"/>
          </a:xfrm>
        </p:spPr>
        <p:txBody>
          <a:bodyPr/>
          <a:lstStyle>
            <a:lvl1pPr marL="284400" indent="-284400"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Font typeface="Roboto" panose="02000000000000000000" pitchFamily="2" charset="0"/>
              <a:buChar char="—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A4F8A66-EEFB-440A-B256-4F7D99DBCF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</p:spTree>
    <p:extLst>
      <p:ext uri="{BB962C8B-B14F-4D97-AF65-F5344CB8AC3E}">
        <p14:creationId xmlns:p14="http://schemas.microsoft.com/office/powerpoint/2010/main" val="1027908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49321A-433C-40D3-B732-F3A61D0B6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49321A-433C-40D3-B732-F3A61D0B6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9F0FCA-A1A8-4E7A-881B-47DA04B20B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00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buFontTx/>
              <a:buNone/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0233" y="2100165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96000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5440233" y="4572701"/>
            <a:ext cx="4860000" cy="19800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190422" indent="-190422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 marL="37392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2pPr>
            <a:lvl3pPr marL="564342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3pPr>
            <a:lvl4pPr marL="747840" indent="-183498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4pPr>
            <a:lvl5pPr marL="938263" indent="-190422">
              <a:lnSpc>
                <a:spcPct val="100000"/>
              </a:lnSpc>
              <a:buFont typeface="Roboto" panose="02000000000000000000" pitchFamily="2" charset="0"/>
              <a:buChar char="—"/>
              <a:defRPr sz="1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396000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0" hasCustomPrompt="1"/>
          </p:nvPr>
        </p:nvSpPr>
        <p:spPr>
          <a:xfrm>
            <a:off x="5440233" y="4244021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cap="none" baseline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 hasCustomPrompt="1"/>
          </p:nvPr>
        </p:nvSpPr>
        <p:spPr>
          <a:xfrm>
            <a:off x="396000" y="176098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CCEA8CD-DAE9-4093-A46E-B761B87552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000" y="6610249"/>
            <a:ext cx="9900000" cy="302452"/>
          </a:xfrm>
          <a:prstGeom prst="rect">
            <a:avLst/>
          </a:prstGeom>
        </p:spPr>
        <p:txBody>
          <a:bodyPr bIns="36000" anchor="b" anchorCtr="0">
            <a:noAutofit/>
          </a:bodyPr>
          <a:lstStyle>
            <a:lvl1pPr marL="128102" indent="-128102" algn="r">
              <a:buNone/>
              <a:defRPr sz="800" i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Footnote]</a:t>
            </a:r>
            <a:endParaRPr lang="en-GB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B05FF0FD-403D-4DB7-B062-AD881B2EA5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875" y="976273"/>
            <a:ext cx="9899650" cy="36019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1C4368-DE6C-4FAB-867A-A6261EA78FED}"/>
              </a:ext>
            </a:extLst>
          </p:cNvPr>
          <p:cNvSpPr txBox="1"/>
          <p:nvPr userDrawn="1"/>
        </p:nvSpPr>
        <p:spPr>
          <a:xfrm>
            <a:off x="395202" y="7027913"/>
            <a:ext cx="9899650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Strictly</a:t>
            </a:r>
            <a:r>
              <a:rPr lang="en-US" sz="550" b="0" i="0" cap="all" baseline="0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 private and confidential | distribution only with consent by author</a:t>
            </a:r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ED758A-1C91-4EC6-95B0-AD6A54A9F1CE}"/>
              </a:ext>
            </a:extLst>
          </p:cNvPr>
          <p:cNvSpPr txBox="1"/>
          <p:nvPr userDrawn="1"/>
        </p:nvSpPr>
        <p:spPr>
          <a:xfrm>
            <a:off x="403773" y="358773"/>
            <a:ext cx="745222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l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Capital fou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8D454-85B2-4D08-A6CD-87F0177C5B27}"/>
              </a:ext>
            </a:extLst>
          </p:cNvPr>
          <p:cNvSpPr txBox="1"/>
          <p:nvPr userDrawn="1"/>
        </p:nvSpPr>
        <p:spPr>
          <a:xfrm>
            <a:off x="9346401" y="362785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r>
              <a:rPr lang="en-US" sz="550" b="0" i="0" cap="all" dirty="0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PAGE </a:t>
            </a:r>
            <a:fld id="{255CC8A3-A92F-4C29-9B31-5453EFEBB06F}" type="slidenum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‹#›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5" name="Text Placeholder 26">
            <a:extLst>
              <a:ext uri="{FF2B5EF4-FFF2-40B4-BE49-F238E27FC236}">
                <a16:creationId xmlns:a16="http://schemas.microsoft.com/office/drawing/2014/main" id="{752F9C23-7AF3-4F7E-889D-B58FE9EEF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57440" y="360358"/>
            <a:ext cx="2336362" cy="190270"/>
          </a:xfrm>
        </p:spPr>
        <p:txBody>
          <a:bodyPr tIns="50400" bIns="50400">
            <a:noAutofit/>
          </a:bodyPr>
          <a:lstStyle>
            <a:lvl1pPr>
              <a:lnSpc>
                <a:spcPct val="100000"/>
              </a:lnSpc>
              <a:buFontTx/>
              <a:buNone/>
              <a:defRPr sz="550" cap="all" baseline="0">
                <a:latin typeface="Roboto Mono" panose="00000009000000000000" pitchFamily="49" charset="0"/>
                <a:ea typeface="Roboto Mono" panose="00000009000000000000" pitchFamily="49" charset="0"/>
              </a:defRPr>
            </a:lvl1pPr>
          </a:lstStyle>
          <a:p>
            <a:pPr lvl="0"/>
            <a:r>
              <a:rPr lang="en-US" dirty="0"/>
              <a:t>Click to edit Presentation nam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CC3160-E68E-4FE1-B16B-3D5023A1442E}"/>
              </a:ext>
            </a:extLst>
          </p:cNvPr>
          <p:cNvSpPr txBox="1"/>
          <p:nvPr userDrawn="1"/>
        </p:nvSpPr>
        <p:spPr>
          <a:xfrm>
            <a:off x="9343584" y="7027863"/>
            <a:ext cx="957021" cy="190270"/>
          </a:xfrm>
          <a:prstGeom prst="rect">
            <a:avLst/>
          </a:prstGeom>
          <a:noFill/>
        </p:spPr>
        <p:txBody>
          <a:bodyPr wrap="square" lIns="0" tIns="50400" rIns="0" bIns="50400" rtlCol="0">
            <a:spAutoFit/>
          </a:bodyPr>
          <a:lstStyle/>
          <a:p>
            <a:pPr algn="r"/>
            <a:fld id="{04748005-AF2C-4176-BAD5-E89123EE5600}" type="datetime3">
              <a:rPr lang="en-US" sz="550" b="0" i="0" cap="all">
                <a:solidFill>
                  <a:schemeClr val="tx1"/>
                </a:solidFill>
                <a:latin typeface="Roboto Mono" panose="00000009000000000000" pitchFamily="49" charset="0"/>
                <a:ea typeface="Roboto Mono" panose="00000009000000000000" pitchFamily="49" charset="0"/>
                <a:cs typeface="Calibri Light" panose="020F0302020204030204" pitchFamily="34" charset="0"/>
              </a:rPr>
              <a:t>20 November 2024</a:t>
            </a:fld>
            <a:endParaRPr lang="en-US" sz="550" b="0" i="0" cap="all" dirty="0">
              <a:solidFill>
                <a:schemeClr val="tx1"/>
              </a:solidFill>
              <a:latin typeface="Roboto Mono" panose="00000009000000000000" pitchFamily="49" charset="0"/>
              <a:ea typeface="Roboto Mono" panose="00000009000000000000" pitchFamily="49" charset="0"/>
              <a:cs typeface="Calibri Light" panose="020F0302020204030204" pitchFamily="34" charset="0"/>
            </a:endParaRPr>
          </a:p>
        </p:txBody>
      </p:sp>
      <p:sp>
        <p:nvSpPr>
          <p:cNvPr id="27" name="Content Placeholder 12">
            <a:extLst>
              <a:ext uri="{FF2B5EF4-FFF2-40B4-BE49-F238E27FC236}">
                <a16:creationId xmlns:a16="http://schemas.microsoft.com/office/drawing/2014/main" id="{D7F4CB3A-DA46-4DA4-B6DA-28773C1DA23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444344" y="1766220"/>
            <a:ext cx="4860000" cy="302451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GB" sz="1100" b="0" dirty="0">
                <a:solidFill>
                  <a:schemeClr val="tx1"/>
                </a:solidFill>
              </a:defRPr>
            </a:lvl1pPr>
          </a:lstStyle>
          <a:p>
            <a:pPr lvl="0" algn="ctr">
              <a:buNone/>
            </a:pPr>
            <a:r>
              <a:rPr lang="en-US" dirty="0"/>
              <a:t>[Heading]</a:t>
            </a:r>
            <a:endParaRPr lang="en-GB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F21014E-E39D-425F-91BE-A920D6CC6A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1342250"/>
            <a:ext cx="9900000" cy="36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ts val="2000"/>
              </a:lnSpc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D6DF2-F87D-430C-8ABC-AFC613ED4C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987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4" imgH="385" progId="TCLayout.ActiveDocument.1">
                  <p:embed/>
                </p:oleObj>
              </mc:Choice>
              <mc:Fallback>
                <p:oleObj name="think-cell Slide" r:id="rId18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D6DF2-F87D-430C-8ABC-AFC613ED4C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8490F1A-2CBE-4ED4-8510-10798BB48EB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venir Next LT Pro" panose="020B0504020202020204" pitchFamily="34" charset="0"/>
              <a:ea typeface="+mj-ea"/>
              <a:cs typeface="Calibri" panose="020F0502020204030204" pitchFamily="34" charset="0"/>
              <a:sym typeface="Avenir Next LT Pro" panose="020B05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02" y="976273"/>
            <a:ext cx="9901323" cy="354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3898899" y="60493"/>
            <a:ext cx="6228401" cy="316129"/>
          </a:xfrm>
          <a:prstGeom prst="rect">
            <a:avLst/>
          </a:prstGeom>
          <a:noFill/>
        </p:spPr>
        <p:txBody>
          <a:bodyPr vert="horz" wrap="square" lIns="0" tIns="49856" rIns="0" bIns="49856" rtlCol="0">
            <a:spAutoFit/>
          </a:bodyPr>
          <a:lstStyle/>
          <a:p>
            <a:pPr algn="r"/>
            <a:r>
              <a:rPr lang="en-GB" sz="700" b="0">
                <a:solidFill>
                  <a:schemeClr val="bg1"/>
                </a:solidFill>
                <a:effectLst/>
                <a:latin typeface="Arial"/>
              </a:rPr>
              <a:t>ibdroot\projects\IBD-LN\CDSalesStrategies\592551_1\Deals\Capital Four\Marketing Materials\Marketing Book\New Template\Capital Four - European CLO I_April_new template v.2.pptx</a:t>
            </a:r>
            <a:endParaRPr lang="en-GB" sz="700" b="0" dirty="0">
              <a:solidFill>
                <a:schemeClr val="bg1"/>
              </a:solidFill>
              <a:effectLst/>
              <a:latin typeface="Arial"/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396875" y="55915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9F6485B-A531-4F56-A9FA-D44E54DC31B7}"/>
              </a:ext>
            </a:extLst>
          </p:cNvPr>
          <p:cNvSpPr txBox="1">
            <a:spLocks/>
          </p:cNvSpPr>
          <p:nvPr userDrawn="1"/>
        </p:nvSpPr>
        <p:spPr>
          <a:xfrm>
            <a:off x="395201" y="1404571"/>
            <a:ext cx="9901324" cy="3224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b="0" kern="1200" baseline="0">
                <a:solidFill>
                  <a:schemeClr val="accent3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357188" indent="-176213" algn="l" defTabSz="99712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9750" indent="-168275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17550" indent="-171450" algn="l" defTabSz="99712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ts val="1800"/>
              </a:lnSpc>
              <a:spcBef>
                <a:spcPts val="0"/>
              </a:spcBef>
            </a:pPr>
            <a:endParaRPr lang="en-GB" sz="1600" baseline="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BB2C140-D149-4141-A02E-BA3B4D74AC15}"/>
              </a:ext>
            </a:extLst>
          </p:cNvPr>
          <p:cNvCxnSpPr>
            <a:cxnSpLocks/>
          </p:cNvCxnSpPr>
          <p:nvPr userDrawn="1"/>
        </p:nvCxnSpPr>
        <p:spPr>
          <a:xfrm flipV="1">
            <a:off x="396875" y="7006431"/>
            <a:ext cx="9899650" cy="3619"/>
          </a:xfrm>
          <a:prstGeom prst="line">
            <a:avLst/>
          </a:prstGeom>
          <a:ln w="254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E5C7F12-72BB-41D1-8684-2433539C7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2099" y="2513013"/>
            <a:ext cx="9901323" cy="4297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88E1377-8935-4BA5-8C31-CA8CFEBED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1713" y="7008813"/>
            <a:ext cx="36099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78D3D389-79D6-4DA2-BBA5-F9738D380B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013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8084118-54CB-4B14-BB87-921C30FB27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51738" y="7008813"/>
            <a:ext cx="24066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76FBC-D489-4787-A9AB-0EEB7A1ACFD8}" type="slidenum">
              <a:rPr lang="da-DK"/>
              <a:t>‹#›</a:t>
            </a:fld>
            <a:endParaRPr lang="da-DK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76C38AE1-0624-4A50-9969-F9DB37DB4F6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5" r:id="rId2"/>
    <p:sldLayoutId id="2147483666" r:id="rId3"/>
    <p:sldLayoutId id="2147483654" r:id="rId4"/>
    <p:sldLayoutId id="2147483650" r:id="rId5"/>
    <p:sldLayoutId id="2147483723" r:id="rId6"/>
    <p:sldLayoutId id="2147483714" r:id="rId7"/>
    <p:sldLayoutId id="2147483722" r:id="rId8"/>
    <p:sldLayoutId id="2147483677" r:id="rId9"/>
    <p:sldLayoutId id="2147483707" r:id="rId10"/>
    <p:sldLayoutId id="2147483708" r:id="rId11"/>
    <p:sldLayoutId id="2147483709" r:id="rId12"/>
    <p:sldLayoutId id="2147483711" r:id="rId13"/>
  </p:sldLayoutIdLst>
  <p:hf sldNum="0" hdr="0" ftr="0"/>
  <p:txStyles>
    <p:titleStyle>
      <a:lvl1pPr algn="l" defTabSz="997120" rtl="0" eaLnBrk="1" latinLnBrk="0" hangingPunct="1">
        <a:lnSpc>
          <a:spcPts val="2400"/>
        </a:lnSpc>
        <a:spcBef>
          <a:spcPct val="0"/>
        </a:spcBef>
        <a:buNone/>
        <a:defRPr sz="2200" b="0" i="0" kern="1200" cap="none" baseline="0">
          <a:solidFill>
            <a:schemeClr val="tx1"/>
          </a:solidFill>
          <a:latin typeface="+mj-lt"/>
          <a:ea typeface="Roboto" panose="02000000000000000000" pitchFamily="2" charset="0"/>
          <a:cs typeface="Calibri" panose="020F0502020204030204" pitchFamily="34" charset="0"/>
        </a:defRPr>
      </a:lvl1pPr>
    </p:titleStyle>
    <p:bodyStyle>
      <a:lvl1pPr marL="0" indent="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7225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31850" indent="-285750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4625" algn="l" defTabSz="997120" rtl="0" eaLnBrk="1" latinLnBrk="0" hangingPunct="1">
        <a:lnSpc>
          <a:spcPts val="1600"/>
        </a:lnSpc>
        <a:spcBef>
          <a:spcPct val="20000"/>
        </a:spcBef>
        <a:buClr>
          <a:schemeClr val="tx1"/>
        </a:buClr>
        <a:buFont typeface="Roboto" panose="02000000000000000000" pitchFamily="2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08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064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920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7760" indent="-249280" algn="l" defTabSz="99712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855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712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567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424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279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136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9919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8480" algn="l" defTabSz="99712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0" userDrawn="1">
          <p15:clr>
            <a:srgbClr val="F26B43"/>
          </p15:clr>
        </p15:guide>
        <p15:guide id="5" pos="6486" userDrawn="1">
          <p15:clr>
            <a:srgbClr val="F26B43"/>
          </p15:clr>
        </p15:guide>
        <p15:guide id="9" orient="horz" pos="15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" Target="slide4.xml"/><Relationship Id="rId7" Type="http://schemas.openxmlformats.org/officeDocument/2006/relationships/slide" Target="slide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C337A46-B614-4DB8-8714-683A1C1A1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4 Fundamental Score meets NLP - Intro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378D1F-E0B1-4FD5-9F63-7E24C31D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Nov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520DD-893C-F427-9E83-F75C615BD8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903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The Practica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8315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The Mod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ocally, I’ve run these models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ant to test the following models: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 err="1"/>
              <a:t>Ollama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ould easily use </a:t>
            </a:r>
            <a:r>
              <a:rPr lang="en-GB" sz="1000" dirty="0" err="1"/>
              <a:t>HuggingFace</a:t>
            </a:r>
            <a:r>
              <a:rPr lang="en-GB" sz="1000" dirty="0"/>
              <a:t> directly.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Locally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run part of this locally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unning on DTU HPC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code runs using Bash Script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Running on Cloud</a:t>
            </a:r>
          </a:p>
        </p:txBody>
      </p:sp>
    </p:spTree>
    <p:extLst>
      <p:ext uri="{BB962C8B-B14F-4D97-AF65-F5344CB8AC3E}">
        <p14:creationId xmlns:p14="http://schemas.microsoft.com/office/powerpoint/2010/main" val="1962498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y Next Step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1700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es: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other LLMs. 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different prompting technique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Experiment with using a second LLM for verification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After logging parsing errors, remaining fail due to mostly slightly different formatting (different markdown so that we can’t identify hierarchical structure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Alternative approach: add more functionality to the parser to catch different formats.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(demo) for C4 Analysts / Thesis Supervisor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Lookup LLM-scored companies. Choose a company, for each identified risk, take to section of actual PDF where risk is present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Upload new unseen pdf prospectus, process, parse and model for sub-score labels.</a:t>
            </a:r>
          </a:p>
        </p:txBody>
      </p:sp>
    </p:spTree>
    <p:extLst>
      <p:ext uri="{BB962C8B-B14F-4D97-AF65-F5344CB8AC3E}">
        <p14:creationId xmlns:p14="http://schemas.microsoft.com/office/powerpoint/2010/main" val="1610390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DBD2C6-E633-E986-AB07-BE6015A56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A2A1F-ECBA-994F-2266-CCA29E8E4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My Goal With This MSc Thesis</a:t>
            </a:r>
            <a:endParaRPr lang="en-US" sz="24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ACFD40D-444F-4894-2E8D-129F1F6C2B65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209288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of of Concept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Give PMs and my analyst colleagues an idea of what this technology is capable of. </a:t>
            </a: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Prospectus Parsing Process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Current approach: I have a parsing process that catches around 70%-80% of Prospectuses. I.e. 70-80% of all prospectuses follow </a:t>
            </a:r>
            <a:r>
              <a:rPr lang="en-GB" sz="1000" u="sng" dirty="0"/>
              <a:t>exactly</a:t>
            </a:r>
            <a:r>
              <a:rPr lang="en-GB" sz="1000" dirty="0"/>
              <a:t> same format.</a:t>
            </a: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LLM Modelling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Shortfalls of current approach: LLM over identifies risk. 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Developing Prospectus Processing / Modelling Tool for C4 Analysts</a:t>
            </a: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 err="1"/>
              <a:t>Streamlit</a:t>
            </a:r>
            <a:r>
              <a:rPr lang="en-US" sz="1000" dirty="0"/>
              <a:t> app:</a:t>
            </a:r>
          </a:p>
        </p:txBody>
      </p:sp>
    </p:spTree>
    <p:extLst>
      <p:ext uri="{BB962C8B-B14F-4D97-AF65-F5344CB8AC3E}">
        <p14:creationId xmlns:p14="http://schemas.microsoft.com/office/powerpoint/2010/main" val="257352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BC782-7938-C32A-01F3-22DF1918D7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0922D-5DD7-263F-9C08-AECFD9A98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400" dirty="0"/>
              <a:t>TOC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876130-2276-9B27-A7DD-26EC958EB22B}"/>
              </a:ext>
            </a:extLst>
          </p:cNvPr>
          <p:cNvSpPr txBox="1"/>
          <p:nvPr/>
        </p:nvSpPr>
        <p:spPr>
          <a:xfrm>
            <a:off x="395202" y="2038187"/>
            <a:ext cx="8396785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LLMs Processing Bond Prospectuses (Idea)</a:t>
            </a: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3" action="ppaction://hlinksldjump"/>
              </a:rPr>
              <a:t>PDF Prospectuses - Scrap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da-DK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4" action="ppaction://hlinksldjump"/>
              </a:rPr>
              <a:t>PDF Prospectuses - Processing</a:t>
            </a:r>
            <a:endParaRPr lang="da-DK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 rtl="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5" action="ppaction://hlinksldjump"/>
              </a:rPr>
              <a:t>LLM Modelling – Strategy (Background)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Base Experiment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7" action="ppaction://hlinksldjump"/>
              </a:rPr>
              <a:t>LLM Modelling – Initial Results</a:t>
            </a:r>
            <a:endParaRPr lang="en-US" sz="2000" b="0" i="0" u="none" strike="noStrike" kern="1200" baseline="0" dirty="0">
              <a:solidFill>
                <a:srgbClr val="423D36"/>
              </a:solidFill>
              <a:latin typeface="Roboto" panose="02000000000000000000" pitchFamily="2" charset="0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2000" b="0" i="0" u="none" strike="noStrike" kern="1200" baseline="0" dirty="0">
                <a:solidFill>
                  <a:srgbClr val="423D36"/>
                </a:solidFill>
                <a:latin typeface="Roboto" panose="02000000000000000000" pitchFamily="2" charset="0"/>
                <a:hlinkClick r:id="rId6" action="ppaction://hlinksldjump"/>
              </a:rPr>
              <a:t>LLM Modelling – The Practical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  <a:hlinkClick r:id="rId8" action="ppaction://hlinksldjump"/>
            </a:endParaRP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§"/>
            </a:pPr>
            <a:r>
              <a:rPr lang="en-US" dirty="0">
                <a:solidFill>
                  <a:srgbClr val="423D36"/>
                </a:solidFill>
                <a:latin typeface="Roboto" panose="02000000000000000000" pitchFamily="2" charset="0"/>
                <a:hlinkClick r:id="rId8" action="ppaction://hlinksldjump"/>
              </a:rPr>
              <a:t>What to Prioritize Now</a:t>
            </a:r>
            <a:endParaRPr lang="en-US" dirty="0">
              <a:solidFill>
                <a:srgbClr val="423D36"/>
              </a:solidFill>
              <a:latin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88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2EF1C0-C6F8-6E00-1CF1-F11DC581A7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92B606A0-24B8-3131-C74C-67573FB37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da-DK" dirty="0"/>
              <a:t>LLMs Processing Bond Prospectuses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5B765D-BBD6-45CF-C2A7-A85523F315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205"/>
          <a:stretch/>
        </p:blipFill>
        <p:spPr>
          <a:xfrm>
            <a:off x="490772" y="3394393"/>
            <a:ext cx="7789512" cy="1534667"/>
          </a:xfrm>
          <a:prstGeom prst="rect">
            <a:avLst/>
          </a:prstGeom>
        </p:spPr>
      </p:pic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6647A66F-BF7C-B1F6-5FA1-7839DA37EE6F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urrent Fundamental Scoring Proces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Fundamental Score is 1-5, There are 7 sub-scores [Business Model, Competitive Positioning, Market Dynamics, …]. 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Each sub-score has explanatory labels.</a:t>
            </a:r>
          </a:p>
          <a:p>
            <a:pPr marL="164144" indent="-164144"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For example, Market Dynamics has labels A-C, a-c</a:t>
            </a:r>
          </a:p>
          <a:p>
            <a:pPr>
              <a:lnSpc>
                <a:spcPct val="100000"/>
              </a:lnSpc>
            </a:pPr>
            <a:endParaRPr lang="en-US" sz="1000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C0E320-2A53-A971-41D1-E24D231F1111}"/>
              </a:ext>
            </a:extLst>
          </p:cNvPr>
          <p:cNvSpPr txBox="1"/>
          <p:nvPr/>
        </p:nvSpPr>
        <p:spPr>
          <a:xfrm>
            <a:off x="38898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Low cyclicality of product demand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Positive demographic, consumer &amp; structural trend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C. Limited seasonality and stable working capit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612935-A4CB-3BDC-9581-D1E706A66E03}"/>
              </a:ext>
            </a:extLst>
          </p:cNvPr>
          <p:cNvSpPr txBox="1"/>
          <p:nvPr/>
        </p:nvSpPr>
        <p:spPr>
          <a:xfrm>
            <a:off x="3999960" y="2672219"/>
            <a:ext cx="53464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4144" indent="-164144">
              <a:lnSpc>
                <a:spcPct val="100000"/>
              </a:lnSpc>
            </a:pPr>
            <a:r>
              <a:rPr lang="en-US" sz="1000" dirty="0"/>
              <a:t>- a. Majority of revenues exposed to above average cyclical products</a:t>
            </a:r>
          </a:p>
          <a:p>
            <a:pPr marL="164144" indent="-164144">
              <a:lnSpc>
                <a:spcPct val="100000"/>
              </a:lnSpc>
            </a:pPr>
            <a:r>
              <a:rPr lang="en-US" sz="1000" dirty="0"/>
              <a:t>- b. Weak/negative demographic, consumer &amp; structural trends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- c. Seasonal industry with volatile working capit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6E7E9F-9128-7B6C-B0DD-5ED8A50106CF}"/>
              </a:ext>
            </a:extLst>
          </p:cNvPr>
          <p:cNvSpPr txBox="1"/>
          <p:nvPr/>
        </p:nvSpPr>
        <p:spPr>
          <a:xfrm>
            <a:off x="396000" y="5241768"/>
            <a:ext cx="53461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My Research Motivation</a:t>
            </a:r>
          </a:p>
          <a:p>
            <a:r>
              <a:rPr lang="en-US" sz="1000" dirty="0"/>
              <a:t>I believe LLMs can derive sub-score labels from bond prospectuses.</a:t>
            </a:r>
          </a:p>
        </p:txBody>
      </p:sp>
    </p:spTree>
    <p:extLst>
      <p:ext uri="{BB962C8B-B14F-4D97-AF65-F5344CB8AC3E}">
        <p14:creationId xmlns:p14="http://schemas.microsoft.com/office/powerpoint/2010/main" val="320677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745C72-C8E0-3397-7A90-07A244F97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04E2ED2-07D6-FF25-8B5E-A8781CBEFAC0}"/>
              </a:ext>
            </a:extLst>
          </p:cNvPr>
          <p:cNvSpPr txBox="1">
            <a:spLocks/>
          </p:cNvSpPr>
          <p:nvPr/>
        </p:nvSpPr>
        <p:spPr>
          <a:xfrm>
            <a:off x="395201" y="1720388"/>
            <a:ext cx="8951199" cy="354969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Dataset</a:t>
            </a:r>
          </a:p>
          <a:p>
            <a:r>
              <a:rPr lang="en-GB" sz="1000" dirty="0"/>
              <a:t>Need prospectuses on European Bond names with C4 Fundamental Score.</a:t>
            </a:r>
          </a:p>
          <a:p>
            <a:r>
              <a:rPr lang="en-GB" sz="1000" dirty="0"/>
              <a:t>~631 names in total have Fundamental Score</a:t>
            </a:r>
          </a:p>
          <a:p>
            <a:r>
              <a:rPr lang="en-GB" sz="1000" dirty="0"/>
              <a:t>Out of those, </a:t>
            </a:r>
            <a:r>
              <a:rPr lang="en-GB" sz="1000" dirty="0">
                <a:highlight>
                  <a:srgbClr val="FFFF00"/>
                </a:highlight>
              </a:rPr>
              <a:t>xxx </a:t>
            </a:r>
            <a:r>
              <a:rPr lang="en-GB" sz="1000" dirty="0"/>
              <a:t>are European Bonds</a:t>
            </a:r>
          </a:p>
          <a:p>
            <a:r>
              <a:rPr lang="en-GB" sz="1000" dirty="0"/>
              <a:t>I now have a Dataset with ~150 names with C4 Analyst Scores.</a:t>
            </a:r>
          </a:p>
          <a:p>
            <a:endParaRPr lang="en-GB" sz="1000" b="1" dirty="0"/>
          </a:p>
          <a:p>
            <a:r>
              <a:rPr lang="en-GB" sz="1000" b="1" dirty="0"/>
              <a:t>SharePoint </a:t>
            </a:r>
            <a:r>
              <a:rPr lang="en-GB" sz="1000" b="1" dirty="0" err="1"/>
              <a:t>Findox</a:t>
            </a:r>
            <a:endParaRPr lang="en-GB" sz="1000" b="1" dirty="0"/>
          </a:p>
          <a:p>
            <a:pPr marL="285750" indent="-285750">
              <a:buFontTx/>
              <a:buChar char="-"/>
            </a:pPr>
            <a:r>
              <a:rPr lang="en-GB" sz="1000" dirty="0"/>
              <a:t>Wrote code to extract documents from C4 SharePoint Portal (from </a:t>
            </a:r>
            <a:r>
              <a:rPr lang="en-GB" sz="1000" dirty="0" err="1"/>
              <a:t>Findox</a:t>
            </a:r>
            <a:r>
              <a:rPr lang="en-GB" sz="1000" dirty="0"/>
              <a:t>)</a:t>
            </a:r>
          </a:p>
          <a:p>
            <a:pPr marL="285750" indent="-285750">
              <a:buFontTx/>
              <a:buChar char="-"/>
            </a:pPr>
            <a:r>
              <a:rPr lang="en-GB" sz="1000" dirty="0"/>
              <a:t>Scraped while linking to </a:t>
            </a:r>
            <a:r>
              <a:rPr lang="en-GB" sz="1000" dirty="0" err="1"/>
              <a:t>RmsId</a:t>
            </a:r>
            <a:r>
              <a:rPr lang="en-GB" sz="1000" dirty="0"/>
              <a:t> so that we can link to all relevant data in DB (e.g. Fundamental Score).</a:t>
            </a:r>
          </a:p>
          <a:p>
            <a:endParaRPr lang="en-GB" sz="1000" dirty="0"/>
          </a:p>
          <a:p>
            <a:r>
              <a:rPr lang="en-GB" sz="1000" b="1" dirty="0" err="1"/>
              <a:t>Esma</a:t>
            </a:r>
            <a:r>
              <a:rPr lang="en-GB" sz="1000" b="1" dirty="0"/>
              <a:t> (</a:t>
            </a:r>
            <a:r>
              <a:rPr lang="en-US" sz="1000" b="1" dirty="0"/>
              <a:t>The European Securities and Markets Authority</a:t>
            </a:r>
            <a:r>
              <a:rPr lang="en-GB" sz="1000" b="1" dirty="0"/>
              <a:t>)</a:t>
            </a:r>
          </a:p>
          <a:p>
            <a:r>
              <a:rPr lang="en-GB" sz="1000" dirty="0"/>
              <a:t>Web-scraping based on ISIN. </a:t>
            </a:r>
          </a:p>
          <a:p>
            <a:endParaRPr lang="en-DK" sz="1000" dirty="0"/>
          </a:p>
          <a:p>
            <a:r>
              <a:rPr lang="en-DK" sz="1000" dirty="0"/>
              <a:t>(Open to suggestions on how to capture more prospectuses before manually going to each company website)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834EC-F1D6-6CBF-1560-A8C7C838A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976273"/>
            <a:ext cx="9899650" cy="360196"/>
          </a:xfrm>
        </p:spPr>
        <p:txBody>
          <a:bodyPr/>
          <a:lstStyle/>
          <a:p>
            <a:r>
              <a:rPr lang="en-US" sz="2000" dirty="0"/>
              <a:t>PDF Prospectuses - Scraping </a:t>
            </a:r>
            <a:endParaRPr lang="en-DK" dirty="0"/>
          </a:p>
        </p:txBody>
      </p:sp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9E12F955-6059-A31F-1E67-0E0482609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281" y="5087464"/>
            <a:ext cx="5414956" cy="1795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754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49DB202-A3E2-4A4E-C37A-9F1E1305E6A6}"/>
              </a:ext>
            </a:extLst>
          </p:cNvPr>
          <p:cNvSpPr/>
          <p:nvPr/>
        </p:nvSpPr>
        <p:spPr>
          <a:xfrm>
            <a:off x="4629254" y="1591205"/>
            <a:ext cx="4910629" cy="1821646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5DEDB-96AD-4BE9-91BD-139A5539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F Prospectuses - Processing </a:t>
            </a:r>
            <a:endParaRPr lang="en-US" dirty="0"/>
          </a:p>
        </p:txBody>
      </p:sp>
      <p:sp>
        <p:nvSpPr>
          <p:cNvPr id="4" name="Isosceles Triangle 11">
            <a:extLst>
              <a:ext uri="{FF2B5EF4-FFF2-40B4-BE49-F238E27FC236}">
                <a16:creationId xmlns:a16="http://schemas.microsoft.com/office/drawing/2014/main" id="{04FDE4F1-0FA5-1D2D-5D88-7AF8EECF24C6}"/>
              </a:ext>
            </a:extLst>
          </p:cNvPr>
          <p:cNvSpPr/>
          <p:nvPr/>
        </p:nvSpPr>
        <p:spPr>
          <a:xfrm rot="5400000">
            <a:off x="3689911" y="2434444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6" name="Isosceles Triangle 11">
            <a:extLst>
              <a:ext uri="{FF2B5EF4-FFF2-40B4-BE49-F238E27FC236}">
                <a16:creationId xmlns:a16="http://schemas.microsoft.com/office/drawing/2014/main" id="{F932BDD0-7673-5E3F-2AF8-E5E7644F6F68}"/>
              </a:ext>
            </a:extLst>
          </p:cNvPr>
          <p:cNvSpPr/>
          <p:nvPr/>
        </p:nvSpPr>
        <p:spPr>
          <a:xfrm rot="10800000">
            <a:off x="6297124" y="3582626"/>
            <a:ext cx="1323439" cy="227517"/>
          </a:xfrm>
          <a:prstGeom prst="triangle">
            <a:avLst/>
          </a:prstGeom>
          <a:solidFill>
            <a:srgbClr val="33B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pic>
        <p:nvPicPr>
          <p:cNvPr id="11" name="Picture 10" descr="A document with text on it&#10;&#10;Description automatically generated">
            <a:extLst>
              <a:ext uri="{FF2B5EF4-FFF2-40B4-BE49-F238E27FC236}">
                <a16:creationId xmlns:a16="http://schemas.microsoft.com/office/drawing/2014/main" id="{19958C2E-7140-B977-92FA-8E613CFC92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14" y="1591205"/>
            <a:ext cx="3594298" cy="51174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EDA6A42-ABF2-1309-3BF6-DDDEB19E2E00}"/>
              </a:ext>
            </a:extLst>
          </p:cNvPr>
          <p:cNvSpPr txBox="1"/>
          <p:nvPr/>
        </p:nvSpPr>
        <p:spPr>
          <a:xfrm>
            <a:off x="4629254" y="1541212"/>
            <a:ext cx="4910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 FACTORS**</a:t>
            </a:r>
            <a:endParaRPr lang="en-GB" sz="7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An investment in the Notes involves risks. Before purchasing the Notes, you should consider carefully the specific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risk factors set forth below, as well as the other information contained in this Offering Memorandum. If any of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events described below, individually or in combination, were to occur, this could have a material advers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mpact on the Group’s business, financial condition, results of operations and financial condition and ability to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make payments on the Notes and could therefore have a negative effect on the trading price of the Notes._</a:t>
            </a:r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n this section, unless the context otherwise requires, the terms “Group”, “we”, “us” and “our” refer to the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Issuer and its subsidiaries._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Risks Relating to the Group’s Business, Technology and Competition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The Group faces significant competition in each of the industries in which the Group operates and competitive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r>
              <a:rPr lang="en-GB" sz="700" b="0" i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_pressures could have a material adverse effect on the Group’s business._</a:t>
            </a:r>
            <a:r>
              <a:rPr lang="en-GB" sz="700" b="1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**</a:t>
            </a:r>
            <a:endParaRPr lang="en-GB" sz="700" b="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b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French telecommunications market is a mature market, marked by very active competition between the main</a:t>
            </a:r>
          </a:p>
          <a:p>
            <a:r>
              <a:rPr lang="en-GB" sz="700" b="0" dirty="0"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erators and very strong pressure on prices. Despite growth...</a:t>
            </a:r>
          </a:p>
          <a:p>
            <a:endParaRPr lang="en-US" sz="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" name="Picture 19" descr="A screenshot of a white table&#10;&#10;Description automatically generated">
            <a:extLst>
              <a:ext uri="{FF2B5EF4-FFF2-40B4-BE49-F238E27FC236}">
                <a16:creationId xmlns:a16="http://schemas.microsoft.com/office/drawing/2014/main" id="{0B9B2575-BC93-A646-FB34-A7BE761A3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779" y="3939035"/>
            <a:ext cx="4911676" cy="2239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5929238-B1BB-C0FA-55DF-131B6B21FE7E}"/>
              </a:ext>
            </a:extLst>
          </p:cNvPr>
          <p:cNvSpPr txBox="1"/>
          <p:nvPr/>
        </p:nvSpPr>
        <p:spPr>
          <a:xfrm>
            <a:off x="4629254" y="6275494"/>
            <a:ext cx="49106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The parsing process catches around 70%-80% of Prospectuses. </a:t>
            </a:r>
          </a:p>
          <a:p>
            <a:r>
              <a:rPr lang="en-GB" sz="800" dirty="0"/>
              <a:t>First transforming pdf into markdown, then processing document hierarchy, and then into </a:t>
            </a:r>
            <a:r>
              <a:rPr lang="en-GB" sz="800" dirty="0" err="1"/>
              <a:t>DataFrame</a:t>
            </a:r>
            <a:r>
              <a:rPr lang="en-GB" sz="800" dirty="0"/>
              <a:t>.</a:t>
            </a:r>
          </a:p>
          <a:p>
            <a:r>
              <a:rPr lang="en-GB" sz="800" dirty="0"/>
              <a:t>Each row is a Sub Sub Section.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2254564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D446F-A866-BDA0-D207-B8C2B4A6DB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F84AA-CE8F-C7CF-8D46-BB8BB066C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Strategy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8F2EC1D3-E8FB-69E9-EF89-D841C355B54F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384720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Recall, what was the original idea?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“From this section of text: {SECTION OF TEXT}, is sub-score label a/b/c present?”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k the LLM to confirm the presence of specific sub-score labels within a text segment, prompting for a clear "yes" or "no.“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en the answer is "yes," request that the LLM cites the exact phrases or sentences where the characteristic is mentioned, enhancing transparency and traceability.</a:t>
            </a:r>
          </a:p>
          <a:p>
            <a:pPr>
              <a:lnSpc>
                <a:spcPct val="100000"/>
              </a:lnSpc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chose to focus on negative sub-score labels (risks)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Out of the 23 negative sub-score labels, I have chosen 10 to focus on.</a:t>
            </a: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How to define ground truth?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ope Limitation: We limit the evaluation to the "Risk Factors" section of bond prospectuses. This is a subset of all credit risk information on each issuer/company. We assume that the analysts have used a set that is larger than or equal to the risk factors subset to assess risk factors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4 Analyst as Ground Truth: The human analysts’ identification of risk factors is treated as the definitive benchmark against which the LLM’s performance is measured.</a:t>
            </a:r>
          </a:p>
          <a:p>
            <a:pPr marL="171450" indent="-171450">
              <a:lnSpc>
                <a:spcPct val="100000"/>
              </a:lnSpc>
              <a:buFontTx/>
              <a:buChar char="-"/>
            </a:pPr>
            <a:endParaRPr lang="en-GB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en-GB" sz="1000" b="1" dirty="0"/>
              <a:t>How to Evaluate LLM Performance?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usion Matrix. TP, FP, TN, FN.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gave specific label and LLM also found that label: T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 analyst did not give specific label but LLM found that label: FP</a:t>
            </a:r>
          </a:p>
          <a:p>
            <a:pPr>
              <a:lnSpc>
                <a:spcPct val="100000"/>
              </a:lnSpc>
            </a:pPr>
            <a:r>
              <a:rPr lang="en-GB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2830548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6EF200-E4F8-D5B4-9B79-8FE6AD6972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985B22F-F906-4DDC-0673-2080B4E410DC}"/>
              </a:ext>
            </a:extLst>
          </p:cNvPr>
          <p:cNvSpPr/>
          <p:nvPr/>
        </p:nvSpPr>
        <p:spPr>
          <a:xfrm>
            <a:off x="439639" y="6196291"/>
            <a:ext cx="9144367" cy="388699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FAF831-3092-5DDE-B5F4-C09894C36BE5}"/>
              </a:ext>
            </a:extLst>
          </p:cNvPr>
          <p:cNvSpPr/>
          <p:nvPr/>
        </p:nvSpPr>
        <p:spPr>
          <a:xfrm>
            <a:off x="439640" y="4565120"/>
            <a:ext cx="7679130" cy="1155961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E66171-3500-7B00-F4DD-3C45EE6B4123}"/>
              </a:ext>
            </a:extLst>
          </p:cNvPr>
          <p:cNvSpPr/>
          <p:nvPr/>
        </p:nvSpPr>
        <p:spPr>
          <a:xfrm>
            <a:off x="439640" y="1840182"/>
            <a:ext cx="7679130" cy="2534464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ED1FB-AB2C-1FF8-832A-CAB472DB4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66E3853-A258-E70B-6ECF-ECADF70A9708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10139229" cy="568155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b="1" dirty="0"/>
              <a:t>Prompt</a:t>
            </a:r>
          </a:p>
          <a:p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prompt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f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""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For the following question and text, judge whether the text is "Highly Relevant", "Somewhat Relevant", or "Not Relevant".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Question: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Text: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itle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itle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Subsubsection Text: 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{</a:t>
            </a:r>
            <a:r>
              <a:rPr lang="en-GB" sz="8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row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'Subsubsection Text'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800" b="0" dirty="0">
                <a:solidFill>
                  <a:srgbClr val="0000FF"/>
                </a:solidFill>
                <a:effectLst/>
                <a:latin typeface="Menlo" panose="020B0609030804020204" pitchFamily="49" charset="0"/>
              </a:rPr>
              <a:t>}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Please provide your answer in the following JSON format:</a:t>
            </a:r>
            <a:b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</a:br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{{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Relevance": "Highly Relevant", "Somewhat Relevant", or "Not Relevant",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vidence": "The exact phrases or sentences from the document that support your assessment; otherwise, leave blank.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EE0000"/>
                </a:solidFill>
                <a:effectLst/>
                <a:latin typeface="Menlo" panose="020B0609030804020204" pitchFamily="49" charset="0"/>
              </a:rPr>
              <a:t>}}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n the prompt, {row[‘Subsubsection Title’]} and {row[‘Subsubsection Text’]} are directly from the Risk Factors section. The {questions} is a specific sub-score label.</a:t>
            </a:r>
          </a:p>
          <a:p>
            <a:r>
              <a:rPr lang="en-GB" sz="800" b="0" dirty="0" err="1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questions_market_dynamics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</a:t>
            </a:r>
            <a:r>
              <a:rPr lang="en-GB" sz="800" b="0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=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 {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b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related to demographic or structural trends affecting the market?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</a:p>
          <a:p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c"</a:t>
            </a:r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8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risks due to seasonal volatility in the industry?"</a:t>
            </a:r>
            <a:endParaRPr lang="en-GB" sz="8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8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}</a:t>
            </a:r>
          </a:p>
          <a:p>
            <a:pPr marL="164144" indent="-164144">
              <a:lnSpc>
                <a:spcPct val="100000"/>
              </a:lnSpc>
            </a:pPr>
            <a:r>
              <a:rPr lang="en-GB" sz="800" dirty="0"/>
              <a:t> </a:t>
            </a:r>
            <a:endParaRPr lang="en-GB" sz="8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Sub-score labels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 wrote out the sub-score labels to be more explicit to improve LLM performance, e.g.: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Exposure to cyclical products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 </a:t>
            </a:r>
            <a:r>
              <a:rPr lang="en-GB" sz="1000" dirty="0"/>
              <a:t>I turned into:</a:t>
            </a:r>
            <a:endParaRPr lang="en-GB" sz="1000" b="0" dirty="0">
              <a:solidFill>
                <a:srgbClr val="3B3B3B"/>
              </a:solidFill>
              <a:effectLst/>
              <a:latin typeface="Menlo" panose="020B0609030804020204" pitchFamily="49" charset="0"/>
            </a:endParaRPr>
          </a:p>
          <a:p>
            <a:pPr marL="164144" indent="-164144">
              <a:lnSpc>
                <a:spcPct val="100000"/>
              </a:lnSpc>
            </a:pP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: 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Does the text mention that the company is exposed to risks associated with cyclical products?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,</a:t>
            </a:r>
            <a:endParaRPr lang="en-GB" sz="1000" dirty="0"/>
          </a:p>
          <a:p>
            <a:pPr marL="164144" indent="-164144">
              <a:lnSpc>
                <a:spcPct val="100000"/>
              </a:lnSpc>
            </a:pPr>
            <a:endParaRPr lang="en-GB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29663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9453D-0A1A-ECA1-D908-0B3ACFE1F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E5CE9DE-6896-001A-F415-902C6F132FB8}"/>
              </a:ext>
            </a:extLst>
          </p:cNvPr>
          <p:cNvSpPr/>
          <p:nvPr/>
        </p:nvSpPr>
        <p:spPr>
          <a:xfrm>
            <a:off x="435234" y="4881266"/>
            <a:ext cx="5386678" cy="288015"/>
          </a:xfrm>
          <a:prstGeom prst="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B4D4EF-0442-C9A3-7888-D8F2C0B88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47A5BD4E-49A7-17B0-5570-9361E7B0D7A4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10033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Below example shows LLM output for Market Dynamics –a for </a:t>
            </a:r>
            <a:r>
              <a:rPr lang="en-GB" sz="1000" dirty="0" err="1"/>
              <a:t>RmsId</a:t>
            </a:r>
            <a:r>
              <a:rPr lang="en-GB" sz="1000" dirty="0"/>
              <a:t> 16 based on the first row (first Subsubsection Title/Text)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e Risk Factors section is 50 pages long in that prospectus giving us a total of 88 rows.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This first row (first Subsubsection Title/Text) looks at 3 pages of text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DD64862D-2D87-7607-2F72-D217ED431A3A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495E4E4-6BE2-7915-A1F8-3446EE6F0E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02" y="2532236"/>
            <a:ext cx="7772400" cy="1842410"/>
          </a:xfrm>
          <a:prstGeom prst="rect">
            <a:avLst/>
          </a:prstGeom>
        </p:spPr>
      </p:pic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9F5F1FC-EBD8-4F7B-A6EC-07B221569B7C}"/>
              </a:ext>
            </a:extLst>
          </p:cNvPr>
          <p:cNvSpPr txBox="1">
            <a:spLocks/>
          </p:cNvSpPr>
          <p:nvPr/>
        </p:nvSpPr>
        <p:spPr>
          <a:xfrm>
            <a:off x="395202" y="4667605"/>
            <a:ext cx="8951199" cy="15522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rete Example Output</a:t>
            </a:r>
          </a:p>
          <a:p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df_LLM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Prospectus ID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  <a:r>
              <a:rPr lang="en-GB" sz="1000" b="0" dirty="0">
                <a:solidFill>
                  <a:srgbClr val="795E26"/>
                </a:solidFill>
                <a:effectLst/>
                <a:latin typeface="Menlo" panose="020B0609030804020204" pitchFamily="49" charset="0"/>
              </a:rPr>
              <a:t>==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16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[</a:t>
            </a:r>
            <a:r>
              <a:rPr lang="en-GB" sz="1000" b="0" dirty="0">
                <a:solidFill>
                  <a:srgbClr val="A31515"/>
                </a:solidFill>
                <a:effectLst/>
                <a:latin typeface="Menlo" panose="020B0609030804020204" pitchFamily="49" charset="0"/>
              </a:rPr>
              <a:t>"Market Dynamics - a"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.</a:t>
            </a:r>
            <a:r>
              <a:rPr lang="en-GB" sz="1000" b="0" dirty="0">
                <a:solidFill>
                  <a:srgbClr val="001080"/>
                </a:solidFill>
                <a:effectLst/>
                <a:latin typeface="Menlo" panose="020B0609030804020204" pitchFamily="49" charset="0"/>
              </a:rPr>
              <a:t>values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[</a:t>
            </a:r>
            <a:r>
              <a:rPr lang="en-GB" sz="1000" b="0" dirty="0">
                <a:solidFill>
                  <a:srgbClr val="098658"/>
                </a:solidFill>
                <a:effectLst/>
                <a:latin typeface="Menlo" panose="020B0609030804020204" pitchFamily="49" charset="0"/>
              </a:rPr>
              <a:t>0</a:t>
            </a:r>
            <a:r>
              <a:rPr lang="en-GB" sz="1000" b="0" dirty="0">
                <a:solidFill>
                  <a:srgbClr val="3B3B3B"/>
                </a:solidFill>
                <a:effectLst/>
                <a:latin typeface="Menlo" panose="020B0609030804020204" pitchFamily="49" charset="0"/>
              </a:rPr>
              <a:t>]</a:t>
            </a:r>
          </a:p>
          <a:p>
            <a:r>
              <a:rPr lang="en-GB" sz="1000" dirty="0"/>
              <a:t>'Highly Relevant: Various evidence throughout the document highlighting intense competition in each market segment, such as business services-B2B, wholesale, cable </a:t>
            </a:r>
            <a:r>
              <a:rPr lang="en-GB" sz="1000" dirty="0" err="1"/>
              <a:t>pay-TV</a:t>
            </a:r>
            <a:r>
              <a:rPr lang="en-GB" sz="1000" dirty="0"/>
              <a:t>, and satellite distribution.’</a:t>
            </a:r>
          </a:p>
          <a:p>
            <a:pPr algn="l"/>
            <a:br>
              <a:rPr lang="en-GB" sz="1100" b="0" i="0" dirty="0">
                <a:solidFill>
                  <a:srgbClr val="3B3B3B"/>
                </a:solidFill>
                <a:effectLst/>
                <a:latin typeface="var(--notebook-cell-output-font-family)"/>
              </a:rPr>
            </a:br>
            <a:endParaRPr lang="en-GB" sz="1100" b="0" i="0" dirty="0">
              <a:solidFill>
                <a:srgbClr val="3B3B3B"/>
              </a:solidFill>
              <a:effectLst/>
              <a:latin typeface="var(--notebook-cell-output-font-family)"/>
            </a:endParaRPr>
          </a:p>
          <a:p>
            <a:pPr marL="164144" indent="-164144">
              <a:lnSpc>
                <a:spcPct val="100000"/>
              </a:lnSpc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4535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F5AB9E-D5E3-940F-F941-7319828A28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72E6E-CB83-9B89-0D65-BAFF4B9FA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LM Modelling – Base Experiment Results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EA98FA14-2AD8-B40C-848F-681D68C43659}"/>
              </a:ext>
            </a:extLst>
          </p:cNvPr>
          <p:cNvSpPr txBox="1">
            <a:spLocks/>
          </p:cNvSpPr>
          <p:nvPr/>
        </p:nvSpPr>
        <p:spPr>
          <a:xfrm>
            <a:off x="395202" y="1523374"/>
            <a:ext cx="8951199" cy="8186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Conclusion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LLM is over-identifying risks, leading to a high number of false positives.</a:t>
            </a:r>
          </a:p>
          <a:p>
            <a:pPr marL="164144" indent="-164144">
              <a:lnSpc>
                <a:spcPct val="100000"/>
              </a:lnSpc>
            </a:pPr>
            <a:endParaRPr lang="en-GB" sz="1100" dirty="0"/>
          </a:p>
        </p:txBody>
      </p:sp>
      <p:pic>
        <p:nvPicPr>
          <p:cNvPr id="5" name="Picture 4" descr="A table with numbers and words&#10;&#10;Description automatically generated">
            <a:extLst>
              <a:ext uri="{FF2B5EF4-FFF2-40B4-BE49-F238E27FC236}">
                <a16:creationId xmlns:a16="http://schemas.microsoft.com/office/drawing/2014/main" id="{95CFE490-7D39-8F1A-C0F0-ED44809475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25" y="2497254"/>
            <a:ext cx="3505451" cy="2566753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FB1F9600-928F-9062-0787-642DB498F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4924" y="2497254"/>
            <a:ext cx="1999088" cy="1190633"/>
          </a:xfrm>
          <a:prstGeom prst="rect">
            <a:avLst/>
          </a:prstGeom>
        </p:spPr>
      </p:pic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2BE692DF-3E13-DC4D-2196-3FEDC2E62245}"/>
              </a:ext>
            </a:extLst>
          </p:cNvPr>
          <p:cNvSpPr txBox="1">
            <a:spLocks/>
          </p:cNvSpPr>
          <p:nvPr/>
        </p:nvSpPr>
        <p:spPr>
          <a:xfrm>
            <a:off x="379325" y="6359734"/>
            <a:ext cx="8951199" cy="63402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850" indent="-285750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74625" algn="l" defTabSz="997120" rtl="0" eaLnBrk="1" latinLnBrk="0" hangingPunct="1">
              <a:lnSpc>
                <a:spcPts val="1600"/>
              </a:lnSpc>
              <a:spcBef>
                <a:spcPct val="20000"/>
              </a:spcBef>
              <a:buClr>
                <a:schemeClr val="tx1"/>
              </a:buClr>
              <a:buFont typeface="Roboto" panose="02000000000000000000" pitchFamily="2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208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064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920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7760" indent="-249280" algn="l" defTabSz="9971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144" indent="-164144">
              <a:lnSpc>
                <a:spcPct val="100000"/>
              </a:lnSpc>
            </a:pPr>
            <a:endParaRPr lang="en-GB" sz="1000" b="1" dirty="0"/>
          </a:p>
          <a:p>
            <a:pPr marL="164144" indent="-164144">
              <a:lnSpc>
                <a:spcPct val="100000"/>
              </a:lnSpc>
            </a:pPr>
            <a:r>
              <a:rPr lang="en-GB" sz="1000" b="1" dirty="0"/>
              <a:t>*Disclaimer</a:t>
            </a:r>
          </a:p>
          <a:p>
            <a:pPr marL="164144" indent="-164144">
              <a:lnSpc>
                <a:spcPct val="100000"/>
              </a:lnSpc>
            </a:pPr>
            <a:r>
              <a:rPr lang="en-GB" sz="1000" dirty="0"/>
              <a:t>I’ve only run the modelling with Meta Llama 3.2. I’ve only run full modelling on 3-level relevance generation (and not “Yes”/”No”).</a:t>
            </a:r>
          </a:p>
        </p:txBody>
      </p:sp>
    </p:spTree>
    <p:extLst>
      <p:ext uri="{BB962C8B-B14F-4D97-AF65-F5344CB8AC3E}">
        <p14:creationId xmlns:p14="http://schemas.microsoft.com/office/powerpoint/2010/main" val="1640273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aIKlTPGVb4ItfCZYf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uI3MV7MKvk1niZe8jZ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Jdkx1Ab1q8ySXSl58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ln7aHC.r3LC1GdceZi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d849273-9362-4206-a1ed-a9fa0b8b658f"/>
  <p:tag name="MIO_UPDATE" val="True"/>
  <p:tag name="MIO_VERSION" val="14.01.2021 19:59:35"/>
  <p:tag name="MIO_DBID" val="85B97FBE-4A9B-4030-92F8-88B1B5AA728D"/>
  <p:tag name="MIO_LASTDOWNLOADED" val="17.01.2021 19:16:50"/>
  <p:tag name="MIO_OBJECTNAME" val="Capital Four"/>
  <p:tag name="MIO_CDID" val="6a2c0e1b-85b7-448b-aade-8d010c3b2222"/>
  <p:tag name="MIO_FALLBACK_LAYOUT" val="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6y2EJG1E9qXHK28K1E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pital Four Colors">
      <a:dk1>
        <a:srgbClr val="423D36"/>
      </a:dk1>
      <a:lt1>
        <a:srgbClr val="E9E4DE"/>
      </a:lt1>
      <a:dk2>
        <a:srgbClr val="948C84"/>
      </a:dk2>
      <a:lt2>
        <a:srgbClr val="F8F7F5"/>
      </a:lt2>
      <a:accent1>
        <a:srgbClr val="948C84"/>
      </a:accent1>
      <a:accent2>
        <a:srgbClr val="027337"/>
      </a:accent2>
      <a:accent3>
        <a:srgbClr val="09A680"/>
      </a:accent3>
      <a:accent4>
        <a:srgbClr val="4C6112"/>
      </a:accent4>
      <a:accent5>
        <a:srgbClr val="98A43A"/>
      </a:accent5>
      <a:accent6>
        <a:srgbClr val="D1BA00"/>
      </a:accent6>
      <a:hlink>
        <a:srgbClr val="152C3D"/>
      </a:hlink>
      <a:folHlink>
        <a:srgbClr val="45454A"/>
      </a:folHlink>
    </a:clrScheme>
    <a:fontScheme name="Capital Four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79</TotalTime>
  <Words>1638</Words>
  <Application>Microsoft Macintosh PowerPoint</Application>
  <PresentationFormat>Custom</PresentationFormat>
  <Paragraphs>18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venir Next LT Pro</vt:lpstr>
      <vt:lpstr>Menlo</vt:lpstr>
      <vt:lpstr>Roboto Mono</vt:lpstr>
      <vt:lpstr>Arial</vt:lpstr>
      <vt:lpstr>Roboto</vt:lpstr>
      <vt:lpstr>var(--notebook-cell-output-font-family)</vt:lpstr>
      <vt:lpstr>Calibri</vt:lpstr>
      <vt:lpstr>Wingdings</vt:lpstr>
      <vt:lpstr>Office Theme</vt:lpstr>
      <vt:lpstr>think-cell Slide</vt:lpstr>
      <vt:lpstr>C4 Fundamental Score meets NLP - Intro</vt:lpstr>
      <vt:lpstr>TOC</vt:lpstr>
      <vt:lpstr>LLMs Processing Bond Prospectuses</vt:lpstr>
      <vt:lpstr>PDF Prospectuses - Scraping </vt:lpstr>
      <vt:lpstr>PDF Prospectuses - Processing </vt:lpstr>
      <vt:lpstr>LLM Modelling – Strategy</vt:lpstr>
      <vt:lpstr>LLM Modelling – Base Experiment</vt:lpstr>
      <vt:lpstr>LLM Modelling – Base Experiment Results</vt:lpstr>
      <vt:lpstr>LLM Modelling – Base Experiment Results</vt:lpstr>
      <vt:lpstr>LLM Modelling – The Practical</vt:lpstr>
      <vt:lpstr>My Next Steps</vt:lpstr>
      <vt:lpstr>My Goal With This MSc Thesis</vt:lpstr>
    </vt:vector>
  </TitlesOfParts>
  <Company>Goldman Sachs &amp; C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ital Four</dc:title>
  <dc:creator>rrankin</dc:creator>
  <cp:lastModifiedBy>Pierre Høgenhaug</cp:lastModifiedBy>
  <cp:revision>1971</cp:revision>
  <cp:lastPrinted>2020-08-17T11:08:44Z</cp:lastPrinted>
  <dcterms:created xsi:type="dcterms:W3CDTF">2012-12-10T20:52:52Z</dcterms:created>
  <dcterms:modified xsi:type="dcterms:W3CDTF">2024-11-21T07:4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TopsCleaned">
    <vt:lpwstr>True</vt:lpwstr>
  </property>
  <property fmtid="{D5CDD505-2E9C-101B-9397-08002B2CF9AE}" pid="3" name="Project">
    <vt:lpwstr>ibdroot</vt:lpwstr>
  </property>
  <property fmtid="{D5CDD505-2E9C-101B-9397-08002B2CF9AE}" pid="4" name="ShowHideDoctop">
    <vt:lpwstr>False</vt:lpwstr>
  </property>
  <property fmtid="{D5CDD505-2E9C-101B-9397-08002B2CF9AE}" pid="5" name="MSIP_Label_b192c15a-43d0-45bf-bc6e-e51cf85b1ef6_Enabled">
    <vt:lpwstr>true</vt:lpwstr>
  </property>
  <property fmtid="{D5CDD505-2E9C-101B-9397-08002B2CF9AE}" pid="6" name="MSIP_Label_b192c15a-43d0-45bf-bc6e-e51cf85b1ef6_SetDate">
    <vt:lpwstr>2024-03-06T09:20:51Z</vt:lpwstr>
  </property>
  <property fmtid="{D5CDD505-2E9C-101B-9397-08002B2CF9AE}" pid="7" name="MSIP_Label_b192c15a-43d0-45bf-bc6e-e51cf85b1ef6_Method">
    <vt:lpwstr>Standard</vt:lpwstr>
  </property>
  <property fmtid="{D5CDD505-2E9C-101B-9397-08002B2CF9AE}" pid="8" name="MSIP_Label_b192c15a-43d0-45bf-bc6e-e51cf85b1ef6_Name">
    <vt:lpwstr>defa4170-0d19-0005-0004-bc88714345d2</vt:lpwstr>
  </property>
  <property fmtid="{D5CDD505-2E9C-101B-9397-08002B2CF9AE}" pid="9" name="MSIP_Label_b192c15a-43d0-45bf-bc6e-e51cf85b1ef6_SiteId">
    <vt:lpwstr>62c5eb46-d129-44dd-91fd-47d9e6a17d69</vt:lpwstr>
  </property>
  <property fmtid="{D5CDD505-2E9C-101B-9397-08002B2CF9AE}" pid="10" name="MSIP_Label_b192c15a-43d0-45bf-bc6e-e51cf85b1ef6_ActionId">
    <vt:lpwstr>e362882f-d20a-437f-9e7a-494fbffe3992</vt:lpwstr>
  </property>
  <property fmtid="{D5CDD505-2E9C-101B-9397-08002B2CF9AE}" pid="11" name="MSIP_Label_b192c15a-43d0-45bf-bc6e-e51cf85b1ef6_ContentBits">
    <vt:lpwstr>0</vt:lpwstr>
  </property>
</Properties>
</file>